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rts/chartEx1.xml" ContentType="application/vnd.ms-office.chartex+xml"/>
  <Override PartName="/ppt/charts/style1.xml" ContentType="application/vnd.ms-office.chartstyle+xml"/>
  <Override PartName="/ppt/charts/colors1.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rts/chartEx2.xml" ContentType="application/vnd.ms-office.chartex+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tags/tag33.xml" ContentType="application/vnd.openxmlformats-officedocument.presentationml.tags+xml"/>
  <Override PartName="/ppt/charts/chart1.xml" ContentType="application/vnd.openxmlformats-officedocument.drawingml.chart+xml"/>
  <Override PartName="/ppt/charts/style3.xml" ContentType="application/vnd.ms-office.chartstyle+xml"/>
  <Override PartName="/ppt/charts/colors3.xml" ContentType="application/vnd.ms-office.chartcolorstyle+xml"/>
  <Override PartName="/ppt/charts/chart2.xml" ContentType="application/vnd.openxmlformats-officedocument.drawingml.chart+xml"/>
  <Override PartName="/ppt/charts/style4.xml" ContentType="application/vnd.ms-office.chartstyle+xml"/>
  <Override PartName="/ppt/charts/colors4.xml" ContentType="application/vnd.ms-office.chartcolorstyle+xml"/>
  <Override PartName="/ppt/charts/chart3.xml" ContentType="application/vnd.openxmlformats-officedocument.drawingml.chart+xml"/>
  <Override PartName="/ppt/charts/style5.xml" ContentType="application/vnd.ms-office.chartstyle+xml"/>
  <Override PartName="/ppt/charts/colors5.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charts/chart4.xml" ContentType="application/vnd.openxmlformats-officedocument.drawingml.chart+xml"/>
  <Override PartName="/ppt/charts/style6.xml" ContentType="application/vnd.ms-office.chartstyle+xml"/>
  <Override PartName="/ppt/charts/colors6.xml" ContentType="application/vnd.ms-office.chartcolorstyle+xml"/>
  <Override PartName="/ppt/charts/chart5.xml" ContentType="application/vnd.openxmlformats-officedocument.drawingml.chart+xml"/>
  <Override PartName="/ppt/charts/style7.xml" ContentType="application/vnd.ms-office.chartstyle+xml"/>
  <Override PartName="/ppt/charts/colors7.xml" ContentType="application/vnd.ms-office.chartcolorstyle+xml"/>
  <Override PartName="/ppt/tags/tag46.xml" ContentType="application/vnd.openxmlformats-officedocument.presentationml.tags+xml"/>
  <Override PartName="/ppt/tags/tag47.xml" ContentType="application/vnd.openxmlformats-officedocument.presentationml.tags+xml"/>
  <Override PartName="/ppt/charts/chart6.xml" ContentType="application/vnd.openxmlformats-officedocument.drawingml.chart+xml"/>
  <Override PartName="/ppt/charts/style8.xml" ContentType="application/vnd.ms-office.chartstyle+xml"/>
  <Override PartName="/ppt/charts/colors8.xml" ContentType="application/vnd.ms-office.chartcolorstyle+xml"/>
  <Override PartName="/ppt/tags/tag48.xml" ContentType="application/vnd.openxmlformats-officedocument.presentationml.tags+xml"/>
  <Override PartName="/ppt/tags/tag49.xml" ContentType="application/vnd.openxmlformats-officedocument.presentationml.tags+xml"/>
  <Override PartName="/ppt/charts/chart7.xml" ContentType="application/vnd.openxmlformats-officedocument.drawingml.chart+xml"/>
  <Override PartName="/ppt/charts/style9.xml" ContentType="application/vnd.ms-office.chartstyle+xml"/>
  <Override PartName="/ppt/charts/colors9.xml" ContentType="application/vnd.ms-office.chartcolorstyle+xml"/>
  <Override PartName="/ppt/tags/tag50.xml" ContentType="application/vnd.openxmlformats-officedocument.presentationml.tags+xml"/>
  <Override PartName="/ppt/tags/tag51.xml" ContentType="application/vnd.openxmlformats-officedocument.presentationml.tags+xml"/>
  <Override PartName="/ppt/charts/chart8.xml" ContentType="application/vnd.openxmlformats-officedocument.drawingml.chart+xml"/>
  <Override PartName="/ppt/charts/style10.xml" ContentType="application/vnd.ms-office.chartstyle+xml"/>
  <Override PartName="/ppt/charts/colors10.xml" ContentType="application/vnd.ms-office.chartcolorstyl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charts/chart9.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xml" ContentType="application/vnd.openxmlformats-officedocument.drawingml.chart+xml"/>
  <Override PartName="/ppt/charts/style12.xml" ContentType="application/vnd.ms-office.chartstyle+xml"/>
  <Override PartName="/ppt/charts/colors12.xml" ContentType="application/vnd.ms-office.chartcolorstyle+xml"/>
  <Override PartName="/ppt/tags/tag56.xml" ContentType="application/vnd.openxmlformats-officedocument.presentationml.tags+xml"/>
  <Override PartName="/ppt/tags/tag57.xml" ContentType="application/vnd.openxmlformats-officedocument.presentationml.tags+xml"/>
  <Override PartName="/ppt/charts/chart11.xml" ContentType="application/vnd.openxmlformats-officedocument.drawingml.chart+xml"/>
  <Override PartName="/ppt/charts/style13.xml" ContentType="application/vnd.ms-office.chartstyle+xml"/>
  <Override PartName="/ppt/charts/colors13.xml" ContentType="application/vnd.ms-office.chartcolorstyle+xml"/>
  <Override PartName="/ppt/tags/tag58.xml" ContentType="application/vnd.openxmlformats-officedocument.presentationml.tags+xml"/>
  <Override PartName="/ppt/tags/tag59.xml" ContentType="application/vnd.openxmlformats-officedocument.presentationml.tags+xml"/>
  <Override PartName="/ppt/charts/chart12.xml" ContentType="application/vnd.openxmlformats-officedocument.drawingml.chart+xml"/>
  <Override PartName="/ppt/charts/style14.xml" ContentType="application/vnd.ms-office.chartstyle+xml"/>
  <Override PartName="/ppt/charts/colors14.xml" ContentType="application/vnd.ms-office.chartcolorstyle+xml"/>
  <Override PartName="/ppt/tags/tag60.xml" ContentType="application/vnd.openxmlformats-officedocument.presentationml.tags+xml"/>
  <Override PartName="/ppt/tags/tag61.xml" ContentType="application/vnd.openxmlformats-officedocument.presentationml.tags+xml"/>
  <Override PartName="/ppt/charts/chart13.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4.xml" ContentType="application/vnd.openxmlformats-officedocument.drawingml.chart+xml"/>
  <Override PartName="/ppt/charts/style16.xml" ContentType="application/vnd.ms-office.chartstyle+xml"/>
  <Override PartName="/ppt/charts/colors16.xml" ContentType="application/vnd.ms-office.chartcolorstyl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charts/chart15.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6.xml" ContentType="application/vnd.openxmlformats-officedocument.drawingml.chart+xml"/>
  <Override PartName="/ppt/charts/style18.xml" ContentType="application/vnd.ms-office.chartstyle+xml"/>
  <Override PartName="/ppt/charts/colors18.xml" ContentType="application/vnd.ms-office.chartcolorstyle+xml"/>
  <Override PartName="/ppt/tags/tag66.xml" ContentType="application/vnd.openxmlformats-officedocument.presentationml.tags+xml"/>
  <Override PartName="/ppt/tags/tag67.xml" ContentType="application/vnd.openxmlformats-officedocument.presentationml.tags+xml"/>
  <Override PartName="/ppt/charts/chart17.xml" ContentType="application/vnd.openxmlformats-officedocument.drawingml.chart+xml"/>
  <Override PartName="/ppt/charts/style19.xml" ContentType="application/vnd.ms-office.chartstyle+xml"/>
  <Override PartName="/ppt/charts/colors19.xml" ContentType="application/vnd.ms-office.chartcolorstyle+xml"/>
  <Override PartName="/ppt/tags/tag68.xml" ContentType="application/vnd.openxmlformats-officedocument.presentationml.tags+xml"/>
  <Override PartName="/ppt/tags/tag69.xml" ContentType="application/vnd.openxmlformats-officedocument.presentationml.tags+xml"/>
  <Override PartName="/ppt/charts/chart18.xml" ContentType="application/vnd.openxmlformats-officedocument.drawingml.chart+xml"/>
  <Override PartName="/ppt/charts/style20.xml" ContentType="application/vnd.ms-office.chartstyle+xml"/>
  <Override PartName="/ppt/charts/colors20.xml" ContentType="application/vnd.ms-office.chartcolorstyle+xml"/>
  <Override PartName="/ppt/tags/tag70.xml" ContentType="application/vnd.openxmlformats-officedocument.presentationml.tags+xml"/>
  <Override PartName="/ppt/tags/tag71.xml" ContentType="application/vnd.openxmlformats-officedocument.presentationml.tags+xml"/>
  <Override PartName="/ppt/charts/chart19.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0.xml" ContentType="application/vnd.openxmlformats-officedocument.drawingml.chart+xml"/>
  <Override PartName="/ppt/charts/style22.xml" ContentType="application/vnd.ms-office.chartstyle+xml"/>
  <Override PartName="/ppt/charts/colors22.xml" ContentType="application/vnd.ms-office.chartcolorstyl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charts/chart21.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2.xml" ContentType="application/vnd.openxmlformats-officedocument.drawingml.chart+xml"/>
  <Override PartName="/ppt/charts/style24.xml" ContentType="application/vnd.ms-office.chartstyle+xml"/>
  <Override PartName="/ppt/charts/colors24.xml" ContentType="application/vnd.ms-office.chartcolorstyle+xml"/>
  <Override PartName="/ppt/tags/tag76.xml" ContentType="application/vnd.openxmlformats-officedocument.presentationml.tags+xml"/>
  <Override PartName="/ppt/tags/tag77.xml" ContentType="application/vnd.openxmlformats-officedocument.presentationml.tags+xml"/>
  <Override PartName="/ppt/charts/chart23.xml" ContentType="application/vnd.openxmlformats-officedocument.drawingml.chart+xml"/>
  <Override PartName="/ppt/charts/style25.xml" ContentType="application/vnd.ms-office.chartstyle+xml"/>
  <Override PartName="/ppt/charts/colors25.xml" ContentType="application/vnd.ms-office.chartcolorstyle+xml"/>
  <Override PartName="/ppt/tags/tag78.xml" ContentType="application/vnd.openxmlformats-officedocument.presentationml.tags+xml"/>
  <Override PartName="/ppt/tags/tag79.xml" ContentType="application/vnd.openxmlformats-officedocument.presentationml.tags+xml"/>
  <Override PartName="/ppt/charts/chart24.xml" ContentType="application/vnd.openxmlformats-officedocument.drawingml.chart+xml"/>
  <Override PartName="/ppt/charts/style26.xml" ContentType="application/vnd.ms-office.chartstyle+xml"/>
  <Override PartName="/ppt/charts/colors26.xml" ContentType="application/vnd.ms-office.chartcolorstyle+xml"/>
  <Override PartName="/ppt/tags/tag80.xml" ContentType="application/vnd.openxmlformats-officedocument.presentationml.tags+xml"/>
  <Override PartName="/ppt/tags/tag81.xml" ContentType="application/vnd.openxmlformats-officedocument.presentationml.tags+xml"/>
  <Override PartName="/ppt/charts/chart25.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6.xml" ContentType="application/vnd.openxmlformats-officedocument.drawingml.chart+xml"/>
  <Override PartName="/ppt/charts/style28.xml" ContentType="application/vnd.ms-office.chartstyle+xml"/>
  <Override PartName="/ppt/charts/colors28.xml" ContentType="application/vnd.ms-office.chartcolorstyl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charts/chart27.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28.xml" ContentType="application/vnd.openxmlformats-officedocument.drawingml.chart+xml"/>
  <Override PartName="/ppt/charts/style30.xml" ContentType="application/vnd.ms-office.chartstyle+xml"/>
  <Override PartName="/ppt/charts/colors30.xml" ContentType="application/vnd.ms-office.chartcolorstyle+xml"/>
  <Override PartName="/ppt/tags/tag86.xml" ContentType="application/vnd.openxmlformats-officedocument.presentationml.tags+xml"/>
  <Override PartName="/ppt/tags/tag87.xml" ContentType="application/vnd.openxmlformats-officedocument.presentationml.tags+xml"/>
  <Override PartName="/ppt/charts/chart29.xml" ContentType="application/vnd.openxmlformats-officedocument.drawingml.chart+xml"/>
  <Override PartName="/ppt/charts/style31.xml" ContentType="application/vnd.ms-office.chartstyle+xml"/>
  <Override PartName="/ppt/charts/colors31.xml" ContentType="application/vnd.ms-office.chartcolorstyle+xml"/>
  <Override PartName="/ppt/tags/tag88.xml" ContentType="application/vnd.openxmlformats-officedocument.presentationml.tags+xml"/>
  <Override PartName="/ppt/tags/tag89.xml" ContentType="application/vnd.openxmlformats-officedocument.presentationml.tags+xml"/>
  <Override PartName="/ppt/charts/chart30.xml" ContentType="application/vnd.openxmlformats-officedocument.drawingml.chart+xml"/>
  <Override PartName="/ppt/charts/style32.xml" ContentType="application/vnd.ms-office.chartstyle+xml"/>
  <Override PartName="/ppt/charts/colors32.xml" ContentType="application/vnd.ms-office.chartcolorstyle+xml"/>
  <Override PartName="/ppt/tags/tag90.xml" ContentType="application/vnd.openxmlformats-officedocument.presentationml.tags+xml"/>
  <Override PartName="/ppt/tags/tag91.xml" ContentType="application/vnd.openxmlformats-officedocument.presentationml.tags+xml"/>
  <Override PartName="/ppt/charts/chart31.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2.xml" ContentType="application/vnd.openxmlformats-officedocument.drawingml.chart+xml"/>
  <Override PartName="/ppt/charts/style34.xml" ContentType="application/vnd.ms-office.chartstyle+xml"/>
  <Override PartName="/ppt/charts/colors34.xml" ContentType="application/vnd.ms-office.chartcolorstyl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charts/chart33.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4.xml" ContentType="application/vnd.openxmlformats-officedocument.drawingml.chart+xml"/>
  <Override PartName="/ppt/charts/style36.xml" ContentType="application/vnd.ms-office.chartstyle+xml"/>
  <Override PartName="/ppt/charts/colors36.xml" ContentType="application/vnd.ms-office.chartcolorstyle+xml"/>
  <Override PartName="/ppt/tags/tag96.xml" ContentType="application/vnd.openxmlformats-officedocument.presentationml.tags+xml"/>
  <Override PartName="/ppt/tags/tag97.xml" ContentType="application/vnd.openxmlformats-officedocument.presentationml.tags+xml"/>
  <Override PartName="/ppt/charts/chart35.xml" ContentType="application/vnd.openxmlformats-officedocument.drawingml.chart+xml"/>
  <Override PartName="/ppt/charts/style37.xml" ContentType="application/vnd.ms-office.chartstyle+xml"/>
  <Override PartName="/ppt/charts/colors37.xml" ContentType="application/vnd.ms-office.chartcolorstyle+xml"/>
  <Override PartName="/ppt/tags/tag98.xml" ContentType="application/vnd.openxmlformats-officedocument.presentationml.tags+xml"/>
  <Override PartName="/ppt/tags/tag99.xml" ContentType="application/vnd.openxmlformats-officedocument.presentationml.tags+xml"/>
  <Override PartName="/ppt/charts/chart36.xml" ContentType="application/vnd.openxmlformats-officedocument.drawingml.chart+xml"/>
  <Override PartName="/ppt/charts/style38.xml" ContentType="application/vnd.ms-office.chartstyle+xml"/>
  <Override PartName="/ppt/charts/colors38.xml" ContentType="application/vnd.ms-office.chartcolorstyle+xml"/>
  <Override PartName="/ppt/tags/tag100.xml" ContentType="application/vnd.openxmlformats-officedocument.presentationml.tags+xml"/>
  <Override PartName="/ppt/tags/tag101.xml" ContentType="application/vnd.openxmlformats-officedocument.presentationml.tags+xml"/>
  <Override PartName="/ppt/charts/chart37.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38.xml" ContentType="application/vnd.openxmlformats-officedocument.drawingml.chart+xml"/>
  <Override PartName="/ppt/charts/style40.xml" ContentType="application/vnd.ms-office.chartstyle+xml"/>
  <Override PartName="/ppt/charts/colors40.xml" ContentType="application/vnd.ms-office.chartcolorstyl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charts/chart39.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0.xml" ContentType="application/vnd.openxmlformats-officedocument.drawingml.chart+xml"/>
  <Override PartName="/ppt/charts/style42.xml" ContentType="application/vnd.ms-office.chartstyle+xml"/>
  <Override PartName="/ppt/charts/colors42.xml" ContentType="application/vnd.ms-office.chartcolorstyle+xml"/>
  <Override PartName="/ppt/tags/tag106.xml" ContentType="application/vnd.openxmlformats-officedocument.presentationml.tags+xml"/>
  <Override PartName="/ppt/tags/tag107.xml" ContentType="application/vnd.openxmlformats-officedocument.presentationml.tags+xml"/>
  <Override PartName="/ppt/charts/chart41.xml" ContentType="application/vnd.openxmlformats-officedocument.drawingml.chart+xml"/>
  <Override PartName="/ppt/charts/style43.xml" ContentType="application/vnd.ms-office.chartstyle+xml"/>
  <Override PartName="/ppt/charts/colors43.xml" ContentType="application/vnd.ms-office.chartcolorstyle+xml"/>
  <Override PartName="/ppt/tags/tag108.xml" ContentType="application/vnd.openxmlformats-officedocument.presentationml.tags+xml"/>
  <Override PartName="/ppt/tags/tag109.xml" ContentType="application/vnd.openxmlformats-officedocument.presentationml.tags+xml"/>
  <Override PartName="/ppt/charts/chart42.xml" ContentType="application/vnd.openxmlformats-officedocument.drawingml.chart+xml"/>
  <Override PartName="/ppt/charts/style44.xml" ContentType="application/vnd.ms-office.chartstyle+xml"/>
  <Override PartName="/ppt/charts/colors44.xml" ContentType="application/vnd.ms-office.chartcolorstyle+xml"/>
  <Override PartName="/ppt/tags/tag110.xml" ContentType="application/vnd.openxmlformats-officedocument.presentationml.tags+xml"/>
  <Override PartName="/ppt/tags/tag111.xml" ContentType="application/vnd.openxmlformats-officedocument.presentationml.tags+xml"/>
  <Override PartName="/ppt/charts/chart43.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4.xml" ContentType="application/vnd.openxmlformats-officedocument.drawingml.chart+xml"/>
  <Override PartName="/ppt/charts/style46.xml" ContentType="application/vnd.ms-office.chartstyle+xml"/>
  <Override PartName="/ppt/charts/colors46.xml" ContentType="application/vnd.ms-office.chartcolorstyl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charts/chart45.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6.xml" ContentType="application/vnd.openxmlformats-officedocument.drawingml.chart+xml"/>
  <Override PartName="/ppt/charts/style48.xml" ContentType="application/vnd.ms-office.chartstyle+xml"/>
  <Override PartName="/ppt/charts/colors48.xml" ContentType="application/vnd.ms-office.chartcolorstyle+xml"/>
  <Override PartName="/ppt/tags/tag116.xml" ContentType="application/vnd.openxmlformats-officedocument.presentationml.tags+xml"/>
  <Override PartName="/ppt/tags/tag117.xml" ContentType="application/vnd.openxmlformats-officedocument.presentationml.tags+xml"/>
  <Override PartName="/ppt/charts/chart47.xml" ContentType="application/vnd.openxmlformats-officedocument.drawingml.chart+xml"/>
  <Override PartName="/ppt/charts/style49.xml" ContentType="application/vnd.ms-office.chartstyle+xml"/>
  <Override PartName="/ppt/charts/colors49.xml" ContentType="application/vnd.ms-office.chartcolorstyle+xml"/>
  <Override PartName="/ppt/tags/tag118.xml" ContentType="application/vnd.openxmlformats-officedocument.presentationml.tags+xml"/>
  <Override PartName="/ppt/tags/tag119.xml" ContentType="application/vnd.openxmlformats-officedocument.presentationml.tags+xml"/>
  <Override PartName="/ppt/charts/chart48.xml" ContentType="application/vnd.openxmlformats-officedocument.drawingml.chart+xml"/>
  <Override PartName="/ppt/charts/style50.xml" ContentType="application/vnd.ms-office.chartstyle+xml"/>
  <Override PartName="/ppt/charts/colors50.xml" ContentType="application/vnd.ms-office.chartcolorstyle+xml"/>
  <Override PartName="/ppt/tags/tag120.xml" ContentType="application/vnd.openxmlformats-officedocument.presentationml.tags+xml"/>
  <Override PartName="/ppt/tags/tag121.xml" ContentType="application/vnd.openxmlformats-officedocument.presentationml.tags+xml"/>
  <Override PartName="/ppt/charts/chart49.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0.xml" ContentType="application/vnd.openxmlformats-officedocument.drawingml.chart+xml"/>
  <Override PartName="/ppt/charts/style52.xml" ContentType="application/vnd.ms-office.chartstyle+xml"/>
  <Override PartName="/ppt/charts/colors52.xml" ContentType="application/vnd.ms-office.chartcolorstyl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charts/chart51.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2.xml" ContentType="application/vnd.openxmlformats-officedocument.drawingml.chart+xml"/>
  <Override PartName="/ppt/charts/style54.xml" ContentType="application/vnd.ms-office.chartstyle+xml"/>
  <Override PartName="/ppt/charts/colors54.xml" ContentType="application/vnd.ms-office.chartcolorstyle+xml"/>
  <Override PartName="/ppt/tags/tag126.xml" ContentType="application/vnd.openxmlformats-officedocument.presentationml.tags+xml"/>
  <Override PartName="/ppt/tags/tag127.xml" ContentType="application/vnd.openxmlformats-officedocument.presentationml.tags+xml"/>
  <Override PartName="/ppt/charts/chart53.xml" ContentType="application/vnd.openxmlformats-officedocument.drawingml.chart+xml"/>
  <Override PartName="/ppt/charts/style55.xml" ContentType="application/vnd.ms-office.chartstyle+xml"/>
  <Override PartName="/ppt/charts/colors55.xml" ContentType="application/vnd.ms-office.chartcolorstyle+xml"/>
  <Override PartName="/ppt/tags/tag128.xml" ContentType="application/vnd.openxmlformats-officedocument.presentationml.tags+xml"/>
  <Override PartName="/ppt/tags/tag129.xml" ContentType="application/vnd.openxmlformats-officedocument.presentationml.tags+xml"/>
  <Override PartName="/ppt/charts/chart54.xml" ContentType="application/vnd.openxmlformats-officedocument.drawingml.chart+xml"/>
  <Override PartName="/ppt/charts/style56.xml" ContentType="application/vnd.ms-office.chartstyle+xml"/>
  <Override PartName="/ppt/charts/colors56.xml" ContentType="application/vnd.ms-office.chartcolorstyle+xml"/>
  <Override PartName="/ppt/tags/tag130.xml" ContentType="application/vnd.openxmlformats-officedocument.presentationml.tags+xml"/>
  <Override PartName="/ppt/tags/tag131.xml" ContentType="application/vnd.openxmlformats-officedocument.presentationml.tags+xml"/>
  <Override PartName="/ppt/charts/chart55.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6.xml" ContentType="application/vnd.openxmlformats-officedocument.drawingml.chart+xml"/>
  <Override PartName="/ppt/charts/style58.xml" ContentType="application/vnd.ms-office.chartstyle+xml"/>
  <Override PartName="/ppt/charts/colors58.xml" ContentType="application/vnd.ms-office.chartcolorstyl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charts/chart57.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58.xml" ContentType="application/vnd.openxmlformats-officedocument.drawingml.chart+xml"/>
  <Override PartName="/ppt/charts/style60.xml" ContentType="application/vnd.ms-office.chartstyle+xml"/>
  <Override PartName="/ppt/charts/colors60.xml" ContentType="application/vnd.ms-office.chartcolorstyle+xml"/>
  <Override PartName="/ppt/tags/tag136.xml" ContentType="application/vnd.openxmlformats-officedocument.presentationml.tags+xml"/>
  <Override PartName="/ppt/tags/tag137.xml" ContentType="application/vnd.openxmlformats-officedocument.presentationml.tags+xml"/>
  <Override PartName="/ppt/charts/chart59.xml" ContentType="application/vnd.openxmlformats-officedocument.drawingml.chart+xml"/>
  <Override PartName="/ppt/charts/style61.xml" ContentType="application/vnd.ms-office.chartstyle+xml"/>
  <Override PartName="/ppt/charts/colors61.xml" ContentType="application/vnd.ms-office.chartcolorstyle+xml"/>
  <Override PartName="/ppt/tags/tag138.xml" ContentType="application/vnd.openxmlformats-officedocument.presentationml.tags+xml"/>
  <Override PartName="/ppt/tags/tag139.xml" ContentType="application/vnd.openxmlformats-officedocument.presentationml.tags+xml"/>
  <Override PartName="/ppt/charts/chart60.xml" ContentType="application/vnd.openxmlformats-officedocument.drawingml.chart+xml"/>
  <Override PartName="/ppt/charts/style62.xml" ContentType="application/vnd.ms-office.chartstyle+xml"/>
  <Override PartName="/ppt/charts/colors62.xml" ContentType="application/vnd.ms-office.chartcolorstyle+xml"/>
  <Override PartName="/ppt/tags/tag140.xml" ContentType="application/vnd.openxmlformats-officedocument.presentationml.tags+xml"/>
  <Override PartName="/ppt/tags/tag141.xml" ContentType="application/vnd.openxmlformats-officedocument.presentationml.tags+xml"/>
  <Override PartName="/ppt/charts/chart61.xml" ContentType="application/vnd.openxmlformats-officedocument.drawingml.chart+xml"/>
  <Override PartName="/ppt/charts/style63.xml" ContentType="application/vnd.ms-office.chartstyle+xml"/>
  <Override PartName="/ppt/charts/colors63.xml" ContentType="application/vnd.ms-office.chartcolorstyl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charts/chart62.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3.xml" ContentType="application/vnd.openxmlformats-officedocument.drawingml.chart+xml"/>
  <Override PartName="/ppt/charts/style65.xml" ContentType="application/vnd.ms-office.chartstyle+xml"/>
  <Override PartName="/ppt/charts/colors65.xml" ContentType="application/vnd.ms-office.chartcolorstyle+xml"/>
  <Override PartName="/ppt/tags/tag146.xml" ContentType="application/vnd.openxmlformats-officedocument.presentationml.tags+xml"/>
  <Override PartName="/ppt/tags/tag147.xml" ContentType="application/vnd.openxmlformats-officedocument.presentationml.tags+xml"/>
  <Override PartName="/ppt/charts/chart64.xml" ContentType="application/vnd.openxmlformats-officedocument.drawingml.chart+xml"/>
  <Override PartName="/ppt/charts/style66.xml" ContentType="application/vnd.ms-office.chartstyle+xml"/>
  <Override PartName="/ppt/charts/colors66.xml" ContentType="application/vnd.ms-office.chartcolorstyle+xml"/>
  <Override PartName="/ppt/tags/tag148.xml" ContentType="application/vnd.openxmlformats-officedocument.presentationml.tags+xml"/>
  <Override PartName="/ppt/tags/tag149.xml" ContentType="application/vnd.openxmlformats-officedocument.presentationml.tags+xml"/>
  <Override PartName="/ppt/charts/chart65.xml" ContentType="application/vnd.openxmlformats-officedocument.drawingml.chart+xml"/>
  <Override PartName="/ppt/charts/style67.xml" ContentType="application/vnd.ms-office.chartstyle+xml"/>
  <Override PartName="/ppt/charts/colors67.xml" ContentType="application/vnd.ms-office.chartcolorstyle+xml"/>
  <Override PartName="/ppt/tags/tag150.xml" ContentType="application/vnd.openxmlformats-officedocument.presentationml.tags+xml"/>
  <Override PartName="/ppt/tags/tag151.xml" ContentType="application/vnd.openxmlformats-officedocument.presentationml.tags+xml"/>
  <Override PartName="/ppt/charts/chart66.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67.xml" ContentType="application/vnd.openxmlformats-officedocument.drawingml.chart+xml"/>
  <Override PartName="/ppt/charts/style69.xml" ContentType="application/vnd.ms-office.chartstyle+xml"/>
  <Override PartName="/ppt/charts/colors69.xml" ContentType="application/vnd.ms-office.chartcolorstyl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charts/chart68.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69.xml" ContentType="application/vnd.openxmlformats-officedocument.drawingml.chart+xml"/>
  <Override PartName="/ppt/charts/style71.xml" ContentType="application/vnd.ms-office.chartstyle+xml"/>
  <Override PartName="/ppt/charts/colors71.xml" ContentType="application/vnd.ms-office.chartcolorstyle+xml"/>
  <Override PartName="/ppt/tags/tag156.xml" ContentType="application/vnd.openxmlformats-officedocument.presentationml.tags+xml"/>
  <Override PartName="/ppt/tags/tag157.xml" ContentType="application/vnd.openxmlformats-officedocument.presentationml.tags+xml"/>
  <Override PartName="/ppt/charts/chart70.xml" ContentType="application/vnd.openxmlformats-officedocument.drawingml.chart+xml"/>
  <Override PartName="/ppt/charts/style72.xml" ContentType="application/vnd.ms-office.chartstyle+xml"/>
  <Override PartName="/ppt/charts/colors72.xml" ContentType="application/vnd.ms-office.chartcolorstyle+xml"/>
  <Override PartName="/ppt/tags/tag158.xml" ContentType="application/vnd.openxmlformats-officedocument.presentationml.tags+xml"/>
  <Override PartName="/ppt/tags/tag159.xml" ContentType="application/vnd.openxmlformats-officedocument.presentationml.tags+xml"/>
  <Override PartName="/ppt/charts/chart71.xml" ContentType="application/vnd.openxmlformats-officedocument.drawingml.chart+xml"/>
  <Override PartName="/ppt/charts/style73.xml" ContentType="application/vnd.ms-office.chartstyle+xml"/>
  <Override PartName="/ppt/charts/colors73.xml" ContentType="application/vnd.ms-office.chartcolorstyle+xml"/>
  <Override PartName="/ppt/tags/tag160.xml" ContentType="application/vnd.openxmlformats-officedocument.presentationml.tags+xml"/>
  <Override PartName="/ppt/tags/tag161.xml" ContentType="application/vnd.openxmlformats-officedocument.presentationml.tags+xml"/>
  <Override PartName="/ppt/charts/chart72.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73.xml" ContentType="application/vnd.openxmlformats-officedocument.drawingml.chart+xml"/>
  <Override PartName="/ppt/charts/style75.xml" ContentType="application/vnd.ms-office.chartstyle+xml"/>
  <Override PartName="/ppt/charts/colors75.xml" ContentType="application/vnd.ms-office.chartcolorstyl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85"/>
  </p:notesMasterIdLst>
  <p:sldIdLst>
    <p:sldId id="2666" r:id="rId2"/>
    <p:sldId id="2660" r:id="rId3"/>
    <p:sldId id="2627" r:id="rId4"/>
    <p:sldId id="2734" r:id="rId5"/>
    <p:sldId id="2735" r:id="rId6"/>
    <p:sldId id="2652" r:id="rId7"/>
    <p:sldId id="2671" r:id="rId8"/>
    <p:sldId id="2685" r:id="rId9"/>
    <p:sldId id="2659" r:id="rId10"/>
    <p:sldId id="2667" r:id="rId11"/>
    <p:sldId id="2700" r:id="rId12"/>
    <p:sldId id="2733" r:id="rId13"/>
    <p:sldId id="2682" r:id="rId14"/>
    <p:sldId id="2683" r:id="rId15"/>
    <p:sldId id="2686" r:id="rId16"/>
    <p:sldId id="2668" r:id="rId17"/>
    <p:sldId id="2687" r:id="rId18"/>
    <p:sldId id="2701" r:id="rId19"/>
    <p:sldId id="2702" r:id="rId20"/>
    <p:sldId id="2676" r:id="rId21"/>
    <p:sldId id="2677" r:id="rId22"/>
    <p:sldId id="2688" r:id="rId23"/>
    <p:sldId id="2705" r:id="rId24"/>
    <p:sldId id="2706" r:id="rId25"/>
    <p:sldId id="2736" r:id="rId26"/>
    <p:sldId id="2737" r:id="rId27"/>
    <p:sldId id="2689" r:id="rId28"/>
    <p:sldId id="2704" r:id="rId29"/>
    <p:sldId id="2708" r:id="rId30"/>
    <p:sldId id="2738" r:id="rId31"/>
    <p:sldId id="2739" r:id="rId32"/>
    <p:sldId id="2680" r:id="rId33"/>
    <p:sldId id="2656" r:id="rId34"/>
    <p:sldId id="2670" r:id="rId35"/>
    <p:sldId id="2740" r:id="rId36"/>
    <p:sldId id="2741" r:id="rId37"/>
    <p:sldId id="2690" r:id="rId38"/>
    <p:sldId id="2710" r:id="rId39"/>
    <p:sldId id="2711" r:id="rId40"/>
    <p:sldId id="2742" r:id="rId41"/>
    <p:sldId id="2743" r:id="rId42"/>
    <p:sldId id="2691" r:id="rId43"/>
    <p:sldId id="2713" r:id="rId44"/>
    <p:sldId id="2714" r:id="rId45"/>
    <p:sldId id="2744" r:id="rId46"/>
    <p:sldId id="2745" r:id="rId47"/>
    <p:sldId id="2692" r:id="rId48"/>
    <p:sldId id="2716" r:id="rId49"/>
    <p:sldId id="2717" r:id="rId50"/>
    <p:sldId id="2746" r:id="rId51"/>
    <p:sldId id="2747" r:id="rId52"/>
    <p:sldId id="2693" r:id="rId53"/>
    <p:sldId id="2719" r:id="rId54"/>
    <p:sldId id="2720" r:id="rId55"/>
    <p:sldId id="2748" r:id="rId56"/>
    <p:sldId id="2749" r:id="rId57"/>
    <p:sldId id="2694" r:id="rId58"/>
    <p:sldId id="2722" r:id="rId59"/>
    <p:sldId id="2723" r:id="rId60"/>
    <p:sldId id="2750" r:id="rId61"/>
    <p:sldId id="2751" r:id="rId62"/>
    <p:sldId id="2695" r:id="rId63"/>
    <p:sldId id="2725" r:id="rId64"/>
    <p:sldId id="2726" r:id="rId65"/>
    <p:sldId id="2752" r:id="rId66"/>
    <p:sldId id="2753" r:id="rId67"/>
    <p:sldId id="2696" r:id="rId68"/>
    <p:sldId id="2728" r:id="rId69"/>
    <p:sldId id="2729" r:id="rId70"/>
    <p:sldId id="2754" r:id="rId71"/>
    <p:sldId id="2755" r:id="rId72"/>
    <p:sldId id="2697" r:id="rId73"/>
    <p:sldId id="2731" r:id="rId74"/>
    <p:sldId id="2732" r:id="rId75"/>
    <p:sldId id="2756" r:id="rId76"/>
    <p:sldId id="2757" r:id="rId77"/>
    <p:sldId id="2669" r:id="rId78"/>
    <p:sldId id="2630" r:id="rId79"/>
    <p:sldId id="2681" r:id="rId80"/>
    <p:sldId id="2684" r:id="rId81"/>
    <p:sldId id="2655" r:id="rId82"/>
    <p:sldId id="2648" r:id="rId83"/>
    <p:sldId id="2654" r:id="rId84"/>
  </p:sldIdLst>
  <p:sldSz cx="12192000" cy="6858000"/>
  <p:notesSz cx="7010400" cy="9296400"/>
  <p:custDataLst>
    <p:tags r:id="rId86"/>
  </p:custDataLst>
  <p:defaultTextStyle>
    <a:defPPr>
      <a:defRPr lang="nl-NL"/>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2777B"/>
    <a:srgbClr val="FF5C3E"/>
    <a:srgbClr val="D9F3F4"/>
    <a:srgbClr val="32AEB4"/>
    <a:srgbClr val="2FA5AB"/>
    <a:srgbClr val="808080"/>
    <a:srgbClr val="FFFFFF"/>
    <a:srgbClr val="FFFAF0"/>
    <a:srgbClr val="3FC1C9"/>
    <a:srgbClr val="9FE0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48" autoAdjust="0"/>
    <p:restoredTop sz="95220" autoAdjust="0"/>
  </p:normalViewPr>
  <p:slideViewPr>
    <p:cSldViewPr snapToGrid="0" showGuides="1">
      <p:cViewPr varScale="1">
        <p:scale>
          <a:sx n="51" d="100"/>
          <a:sy n="51" d="100"/>
        </p:scale>
        <p:origin x="797" y="38"/>
      </p:cViewPr>
      <p:guideLst/>
    </p:cSldViewPr>
  </p:slideViewPr>
  <p:outlineViewPr>
    <p:cViewPr>
      <p:scale>
        <a:sx n="33" d="100"/>
        <a:sy n="33" d="100"/>
      </p:scale>
      <p:origin x="0" y="-31146"/>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theme" Target="theme/theme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ableStyles" Target="tableStyles.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1.174580888460365</c:v>
                </c:pt>
                <c:pt idx="1">
                  <c:v>35.942614963867797</c:v>
                </c:pt>
                <c:pt idx="2">
                  <c:v>37.889162397598163</c:v>
                </c:pt>
              </c:numCache>
            </c:numRef>
          </c:val>
          <c:extLst>
            <c:ext xmlns:c16="http://schemas.microsoft.com/office/drawing/2014/chart" uri="{C3380CC4-5D6E-409C-BE32-E72D297353CC}">
              <c16:uniqueId val="{00000000-46A7-472A-96CB-113FC411F214}"/>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8.516977000000001</c:v>
                </c:pt>
                <c:pt idx="1">
                  <c:v>5.6443840000000023</c:v>
                </c:pt>
                <c:pt idx="2">
                  <c:v>3.7859079999999992</c:v>
                </c:pt>
              </c:numCache>
            </c:numRef>
          </c:val>
          <c:extLst>
            <c:ext xmlns:c16="http://schemas.microsoft.com/office/drawing/2014/chart" uri="{C3380CC4-5D6E-409C-BE32-E72D297353CC}">
              <c16:uniqueId val="{00000001-46A7-472A-96CB-113FC411F21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9.691557888460366</c:v>
                </c:pt>
                <c:pt idx="1">
                  <c:v>41.586998963867799</c:v>
                </c:pt>
                <c:pt idx="2">
                  <c:v>41.675070397598162</c:v>
                </c:pt>
              </c:numCache>
            </c:numRef>
          </c:val>
          <c:smooth val="0"/>
          <c:extLst>
            <c:ext xmlns:c16="http://schemas.microsoft.com/office/drawing/2014/chart" uri="{C3380CC4-5D6E-409C-BE32-E72D297353CC}">
              <c16:uniqueId val="{00000002-46A7-472A-96CB-113FC411F21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06.79824967966164</c:v>
                </c:pt>
                <c:pt idx="1">
                  <c:v>133.33841250898431</c:v>
                </c:pt>
                <c:pt idx="2">
                  <c:v>135.9561054096444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4.2567545963229421</c:v>
                </c:pt>
                <c:pt idx="1">
                  <c:v>99.617997282825854</c:v>
                </c:pt>
                <c:pt idx="2">
                  <c:v>100.9141692639654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11.05500427598457</c:v>
                </c:pt>
                <c:pt idx="1">
                  <c:v>232.95640979181019</c:v>
                </c:pt>
                <c:pt idx="2">
                  <c:v>236.8702746736099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C$2:$C$10</c:f>
              <c:numCache>
                <c:formatCode>General</c:formatCode>
                <c:ptCount val="9"/>
                <c:pt idx="0">
                  <c:v>135.95610540964444</c:v>
                </c:pt>
                <c:pt idx="2">
                  <c:v>106.86370470623129</c:v>
                </c:pt>
                <c:pt idx="3">
                  <c:v>101.68797750177319</c:v>
                </c:pt>
                <c:pt idx="4">
                  <c:v>126.16497646799242</c:v>
                </c:pt>
                <c:pt idx="5">
                  <c:v>160.02744485648481</c:v>
                </c:pt>
                <c:pt idx="7">
                  <c:v>123.68602588312042</c:v>
                </c:pt>
                <c:pt idx="8">
                  <c:v>173.2961556225406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D$2:$D$10</c:f>
              <c:numCache>
                <c:formatCode>General</c:formatCode>
                <c:ptCount val="9"/>
                <c:pt idx="0">
                  <c:v>100.91416926396548</c:v>
                </c:pt>
                <c:pt idx="2">
                  <c:v>108.12081903089327</c:v>
                </c:pt>
                <c:pt idx="3">
                  <c:v>122.03225031048436</c:v>
                </c:pt>
                <c:pt idx="4">
                  <c:v>214.48822750792186</c:v>
                </c:pt>
                <c:pt idx="5">
                  <c:v>354.06111353625141</c:v>
                </c:pt>
                <c:pt idx="7">
                  <c:v>199.67560259638771</c:v>
                </c:pt>
                <c:pt idx="8">
                  <c:v>121.44932506422954</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B$2:$B$10</c:f>
              <c:numCache>
                <c:formatCode>General</c:formatCode>
                <c:ptCount val="9"/>
                <c:pt idx="0">
                  <c:v>236.87027467360991</c:v>
                </c:pt>
                <c:pt idx="2">
                  <c:v>214.98452373712456</c:v>
                </c:pt>
                <c:pt idx="3">
                  <c:v>223.72022781225752</c:v>
                </c:pt>
                <c:pt idx="4">
                  <c:v>340.65320397591432</c:v>
                </c:pt>
                <c:pt idx="5">
                  <c:v>514.08855839273622</c:v>
                </c:pt>
                <c:pt idx="7">
                  <c:v>323.36162847950811</c:v>
                </c:pt>
                <c:pt idx="8">
                  <c:v>294.7454806867702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7785962069851342</c:v>
                </c:pt>
                <c:pt idx="2">
                  <c:v>3.3513204662568428</c:v>
                </c:pt>
                <c:pt idx="3">
                  <c:v>3.3567994203636906</c:v>
                </c:pt>
                <c:pt idx="4">
                  <c:v>3.4434311114498413</c:v>
                </c:pt>
                <c:pt idx="6">
                  <c:v>5.7332520205198225</c:v>
                </c:pt>
                <c:pt idx="7">
                  <c:v>5.7332520205198225</c:v>
                </c:pt>
                <c:pt idx="8">
                  <c:v>5.7446927022089467</c:v>
                </c:pt>
                <c:pt idx="9">
                  <c:v>5.8954774939817627</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6720922069851341</c:v>
                </c:pt>
                <c:pt idx="5">
                  <c:v>3.3369271114498411</c:v>
                </c:pt>
                <c:pt idx="10">
                  <c:v>3.4024374939817617</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0.57272425927170845</c:v>
                </c:pt>
                <c:pt idx="2">
                  <c:v>5.4789541068476369E-3</c:v>
                </c:pt>
                <c:pt idx="3">
                  <c:v>8.6631691086150861E-2</c:v>
                </c:pt>
                <c:pt idx="7">
                  <c:v>1.1440681689123846E-2</c:v>
                </c:pt>
                <c:pt idx="8">
                  <c:v>0.1507847917728156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6">
                  <c:v>9.6715090930018913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106504</c:v>
                </c:pt>
                <c:pt idx="5">
                  <c:v>2.4930400000000001</c:v>
                </c:pt>
                <c:pt idx="10">
                  <c:v>2.5254780000000001</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2.386536</c:v>
                </c:pt>
                <c:pt idx="9">
                  <c:v>3.2437999999999967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7785962069851342</c:v>
                </c:pt>
                <c:pt idx="5">
                  <c:v>5.8299671114498413</c:v>
                </c:pt>
                <c:pt idx="10">
                  <c:v>5.9279154939817618</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ijstandsontvangers</c:v>
                </c:pt>
                <c:pt idx="1">
                  <c:v>Huishoudens laag inkomen (drempel)</c:v>
                </c:pt>
                <c:pt idx="2">
                  <c:v>Re-integratie klassiek</c:v>
                </c:pt>
                <c:pt idx="3">
                  <c:v>Inwoners</c:v>
                </c:pt>
                <c:pt idx="4">
                  <c:v>Klantenpotentieel regionaal</c:v>
                </c:pt>
                <c:pt idx="5">
                  <c:v>Loonkostensubsidie</c:v>
                </c:pt>
                <c:pt idx="6">
                  <c:v>Eenpersoonshuishoudens</c:v>
                </c:pt>
                <c:pt idx="7">
                  <c:v>Omgevingsadressendichtheid</c:v>
                </c:pt>
                <c:pt idx="10">
                  <c:v>Overig</c:v>
                </c:pt>
              </c:strCache>
            </c:strRef>
          </c:cat>
          <c:val>
            <c:numRef>
              <c:f>Sheet1!$B$2:$B$12</c:f>
              <c:numCache>
                <c:formatCode>General</c:formatCode>
                <c:ptCount val="11"/>
                <c:pt idx="0">
                  <c:v>1.4134632428800011</c:v>
                </c:pt>
                <c:pt idx="1">
                  <c:v>0.64237601625600016</c:v>
                </c:pt>
                <c:pt idx="2">
                  <c:v>0.56152635736912015</c:v>
                </c:pt>
                <c:pt idx="3">
                  <c:v>0.30901904592000001</c:v>
                </c:pt>
                <c:pt idx="4">
                  <c:v>0.130277004</c:v>
                </c:pt>
                <c:pt idx="5">
                  <c:v>0.12915764732000001</c:v>
                </c:pt>
                <c:pt idx="6">
                  <c:v>0.11983375872000003</c:v>
                </c:pt>
                <c:pt idx="7">
                  <c:v>9.6784421516640004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4"/>
                <c:pt idx="0">
                  <c:v>Participatie</c:v>
                </c:pt>
                <c:pt idx="1">
                  <c:v>Armoedebestrijding kinderen</c:v>
                </c:pt>
                <c:pt idx="2">
                  <c:v>Schulden en armoede</c:v>
                </c:pt>
                <c:pt idx="3">
                  <c:v>Perspectief op werk 2020</c:v>
                </c:pt>
              </c:strCache>
            </c:strRef>
          </c:cat>
          <c:val>
            <c:numRef>
              <c:f>Sheet1!$B$2:$B$12</c:f>
              <c:numCache>
                <c:formatCode>General</c:formatCode>
                <c:ptCount val="11"/>
                <c:pt idx="0">
                  <c:v>2.3817849999999998</c:v>
                </c:pt>
                <c:pt idx="1">
                  <c:v>0.112576</c:v>
                </c:pt>
                <c:pt idx="2">
                  <c:v>3.1116999999999999E-2</c:v>
                </c:pt>
                <c:pt idx="3">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64912051238406687</c:v>
                </c:pt>
                <c:pt idx="1">
                  <c:v>0.67413443018851338</c:v>
                </c:pt>
                <c:pt idx="2">
                  <c:v>0.7333408824904933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2.9125000000000002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64912051238406687</c:v>
                </c:pt>
                <c:pt idx="1">
                  <c:v>0.67413443018851338</c:v>
                </c:pt>
                <c:pt idx="2">
                  <c:v>0.762465882490493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5.94406524316814</c:v>
                </c:pt>
                <c:pt idx="1">
                  <c:v>26.93736235069581</c:v>
                </c:pt>
                <c:pt idx="2">
                  <c:v>29.30316001320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1.163789658754894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5.94406524316814</c:v>
                </c:pt>
                <c:pt idx="1">
                  <c:v>26.93736235069581</c:v>
                </c:pt>
                <c:pt idx="2">
                  <c:v>30.4669496719608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C$2:$C$10</c:f>
              <c:numCache>
                <c:formatCode>General</c:formatCode>
                <c:ptCount val="9"/>
                <c:pt idx="0">
                  <c:v>29.303160013206</c:v>
                </c:pt>
                <c:pt idx="2">
                  <c:v>24.580147344645429</c:v>
                </c:pt>
                <c:pt idx="3">
                  <c:v>25.055662813674669</c:v>
                </c:pt>
                <c:pt idx="4">
                  <c:v>28.951192538967017</c:v>
                </c:pt>
                <c:pt idx="5">
                  <c:v>27.838362167197111</c:v>
                </c:pt>
                <c:pt idx="7">
                  <c:v>26.606341216121059</c:v>
                </c:pt>
                <c:pt idx="8">
                  <c:v>33.95531214497793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D$2:$D$10</c:f>
              <c:numCache>
                <c:formatCode>General</c:formatCode>
                <c:ptCount val="9"/>
                <c:pt idx="0">
                  <c:v>1.1637896587548948</c:v>
                </c:pt>
                <c:pt idx="2">
                  <c:v>1.1513929911391394</c:v>
                </c:pt>
                <c:pt idx="3">
                  <c:v>1.1652978646688834</c:v>
                </c:pt>
                <c:pt idx="4">
                  <c:v>1.1631302394609122</c:v>
                </c:pt>
                <c:pt idx="5">
                  <c:v>1.1402833445771658</c:v>
                </c:pt>
                <c:pt idx="7">
                  <c:v>1.1550261099615253</c:v>
                </c:pt>
                <c:pt idx="8">
                  <c:v>2.214595534135396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B$2:$B$10</c:f>
              <c:numCache>
                <c:formatCode>General</c:formatCode>
                <c:ptCount val="9"/>
                <c:pt idx="0">
                  <c:v>30.46694967196089</c:v>
                </c:pt>
                <c:pt idx="2">
                  <c:v>25.731540335784569</c:v>
                </c:pt>
                <c:pt idx="3">
                  <c:v>26.220960678343552</c:v>
                </c:pt>
                <c:pt idx="4">
                  <c:v>30.11432277842793</c:v>
                </c:pt>
                <c:pt idx="5">
                  <c:v>28.978645511774282</c:v>
                </c:pt>
                <c:pt idx="7">
                  <c:v>27.761367326082585</c:v>
                </c:pt>
                <c:pt idx="8">
                  <c:v>36.16990767911332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64015354615850661</c:v>
                </c:pt>
                <c:pt idx="2">
                  <c:v>0.64015354615850661</c:v>
                </c:pt>
                <c:pt idx="3">
                  <c:v>0.66219040010225372</c:v>
                </c:pt>
                <c:pt idx="4">
                  <c:v>0.67413443018851349</c:v>
                </c:pt>
                <c:pt idx="6">
                  <c:v>0.6690918451597847</c:v>
                </c:pt>
                <c:pt idx="7">
                  <c:v>0.6690918451597847</c:v>
                </c:pt>
                <c:pt idx="8">
                  <c:v>0.69987043942607663</c:v>
                </c:pt>
                <c:pt idx="9">
                  <c:v>0.73334088249049345</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64912051238406687</c:v>
                </c:pt>
                <c:pt idx="5">
                  <c:v>0.67413443018851349</c:v>
                </c:pt>
                <c:pt idx="10">
                  <c:v>0.73334088249049345</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2.2036853943747065E-2</c:v>
                </c:pt>
                <c:pt idx="3">
                  <c:v>1.1944030086259751E-2</c:v>
                </c:pt>
                <c:pt idx="7">
                  <c:v>3.0778594266291891E-2</c:v>
                </c:pt>
                <c:pt idx="8">
                  <c:v>3.3470443064416829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8.9669662255603081E-3</c:v>
                </c:pt>
                <c:pt idx="6">
                  <c:v>5.0425850287287612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2.9125000000000002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2.9125000000000002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64912051238406687</c:v>
                </c:pt>
                <c:pt idx="5">
                  <c:v>0.67413443018851349</c:v>
                </c:pt>
                <c:pt idx="10">
                  <c:v>0.76246588249049341</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Inwoners</c:v>
                </c:pt>
                <c:pt idx="2">
                  <c:v>Huishoudens met laag inkomen (drempel)</c:v>
                </c:pt>
                <c:pt idx="3">
                  <c:v>Minderheden</c:v>
                </c:pt>
                <c:pt idx="4">
                  <c:v>Omgevingsadressendichtheid</c:v>
                </c:pt>
                <c:pt idx="5">
                  <c:v>Eenouderhuishoudens</c:v>
                </c:pt>
                <c:pt idx="6">
                  <c:v>Bijstandsontvangers</c:v>
                </c:pt>
                <c:pt idx="7">
                  <c:v>Huishoudens</c:v>
                </c:pt>
                <c:pt idx="8">
                  <c:v>Uitkeringsontvangers</c:v>
                </c:pt>
                <c:pt idx="9">
                  <c:v>Klantenpotentieel lokaal</c:v>
                </c:pt>
                <c:pt idx="10">
                  <c:v>Overig</c:v>
                </c:pt>
              </c:strCache>
            </c:strRef>
          </c:cat>
          <c:val>
            <c:numRef>
              <c:f>Sheet1!$B$2:$B$12</c:f>
              <c:numCache>
                <c:formatCode>General</c:formatCode>
                <c:ptCount val="11"/>
                <c:pt idx="0">
                  <c:v>0.15286557312000001</c:v>
                </c:pt>
                <c:pt idx="1">
                  <c:v>0.11981547864000001</c:v>
                </c:pt>
                <c:pt idx="2">
                  <c:v>0.10390964573600002</c:v>
                </c:pt>
                <c:pt idx="3">
                  <c:v>7.5603041799999993E-2</c:v>
                </c:pt>
                <c:pt idx="4">
                  <c:v>6.9003707933159991E-2</c:v>
                </c:pt>
                <c:pt idx="5">
                  <c:v>4.5142899360000002E-2</c:v>
                </c:pt>
                <c:pt idx="6">
                  <c:v>3.8607120586666703E-2</c:v>
                </c:pt>
                <c:pt idx="7">
                  <c:v>3.2590771200000007E-2</c:v>
                </c:pt>
                <c:pt idx="8">
                  <c:v>2.5104057506666711E-2</c:v>
                </c:pt>
                <c:pt idx="9">
                  <c:v>2.1352874400000003E-2</c:v>
                </c:pt>
                <c:pt idx="10">
                  <c:v>4.9345712207999881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846.30619058594584</c:v>
                </c:pt>
                <c:pt idx="1">
                  <c:v>1436.2109391779668</c:v>
                </c:pt>
                <c:pt idx="2">
                  <c:v>1513.9919442818734</c:v>
                </c:pt>
              </c:numCache>
            </c:numRef>
          </c:val>
          <c:extLst>
            <c:ext xmlns:c16="http://schemas.microsoft.com/office/drawing/2014/chart" uri="{C3380CC4-5D6E-409C-BE32-E72D297353CC}">
              <c16:uniqueId val="{00000000-6615-4F91-98A7-ED426CC7B14D}"/>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740.0870103916867</c:v>
                </c:pt>
                <c:pt idx="1">
                  <c:v>225.54079757052673</c:v>
                </c:pt>
                <c:pt idx="2">
                  <c:v>151.27898985055538</c:v>
                </c:pt>
              </c:numCache>
            </c:numRef>
          </c:val>
          <c:extLst>
            <c:ext xmlns:c16="http://schemas.microsoft.com/office/drawing/2014/chart" uri="{C3380CC4-5D6E-409C-BE32-E72D297353CC}">
              <c16:uniqueId val="{00000001-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586.3932009776327</c:v>
                </c:pt>
                <c:pt idx="1">
                  <c:v>1661.7517367484936</c:v>
                </c:pt>
                <c:pt idx="2">
                  <c:v>1665.2709341324289</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erhoging taalniveau statush</c:v>
                </c:pt>
                <c:pt idx="1">
                  <c:v>Landelijke vreemdelingenvoorz</c:v>
                </c:pt>
              </c:strCache>
            </c:strRef>
          </c:cat>
          <c:val>
            <c:numRef>
              <c:f>Sheet1!$B$2:$B$12</c:f>
              <c:numCache>
                <c:formatCode>General</c:formatCode>
                <c:ptCount val="11"/>
                <c:pt idx="0">
                  <c:v>2.9125000000000002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0302013759755333</c:v>
                </c:pt>
                <c:pt idx="1">
                  <c:v>7.6910902169736772</c:v>
                </c:pt>
                <c:pt idx="2">
                  <c:v>7.869637992597164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1.1781060000000001</c:v>
                </c:pt>
                <c:pt idx="2">
                  <c:v>0.82660500000000003</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0302013759755333</c:v>
                </c:pt>
                <c:pt idx="1">
                  <c:v>8.8691962169736769</c:v>
                </c:pt>
                <c:pt idx="2">
                  <c:v>8.696242992597165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68.88547147139889</c:v>
                </c:pt>
                <c:pt idx="1">
                  <c:v>1405.5354928679965</c:v>
                </c:pt>
                <c:pt idx="2">
                  <c:v>1438.164837828429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215.29714912280701</c:v>
                </c:pt>
                <c:pt idx="2">
                  <c:v>151.06085526315789</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68.88547147139889</c:v>
                </c:pt>
                <c:pt idx="1">
                  <c:v>1620.8326419908035</c:v>
                </c:pt>
                <c:pt idx="2">
                  <c:v>1589.225693091587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C$2:$C$10</c:f>
              <c:numCache>
                <c:formatCode>General</c:formatCode>
                <c:ptCount val="9"/>
                <c:pt idx="0">
                  <c:v>1438.1648378284292</c:v>
                </c:pt>
                <c:pt idx="2">
                  <c:v>1074.0566268310249</c:v>
                </c:pt>
                <c:pt idx="3">
                  <c:v>1405.6780858131551</c:v>
                </c:pt>
                <c:pt idx="4">
                  <c:v>1380.1090969037664</c:v>
                </c:pt>
                <c:pt idx="5">
                  <c:v>1512.0290915923151</c:v>
                </c:pt>
                <c:pt idx="7">
                  <c:v>1342.9682252850653</c:v>
                </c:pt>
                <c:pt idx="8">
                  <c:v>1316.732814547619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D$2:$D$10</c:f>
              <c:numCache>
                <c:formatCode>General</c:formatCode>
                <c:ptCount val="9"/>
                <c:pt idx="0">
                  <c:v>151.06085526315789</c:v>
                </c:pt>
                <c:pt idx="2">
                  <c:v>280.31170391732758</c:v>
                </c:pt>
                <c:pt idx="3">
                  <c:v>170.38987473903967</c:v>
                </c:pt>
                <c:pt idx="4">
                  <c:v>149.74951789157916</c:v>
                </c:pt>
                <c:pt idx="5">
                  <c:v>375.78385711055847</c:v>
                </c:pt>
                <c:pt idx="7">
                  <c:v>244.05873841462625</c:v>
                </c:pt>
                <c:pt idx="8">
                  <c:v>229.6618350653934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B$2:$B$10</c:f>
              <c:numCache>
                <c:formatCode>General</c:formatCode>
                <c:ptCount val="9"/>
                <c:pt idx="0">
                  <c:v>1589.2256930915871</c:v>
                </c:pt>
                <c:pt idx="2">
                  <c:v>1354.3683307483525</c:v>
                </c:pt>
                <c:pt idx="3">
                  <c:v>1576.0679605521948</c:v>
                </c:pt>
                <c:pt idx="4">
                  <c:v>1529.8586147953456</c:v>
                </c:pt>
                <c:pt idx="5">
                  <c:v>1887.8129487028734</c:v>
                </c:pt>
                <c:pt idx="7">
                  <c:v>1587.0269636996916</c:v>
                </c:pt>
                <c:pt idx="8">
                  <c:v>1546.394649613013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94750006254774577</c:v>
                </c:pt>
                <c:pt idx="2">
                  <c:v>0.94750006254774577</c:v>
                </c:pt>
                <c:pt idx="3">
                  <c:v>7.6456695833846027</c:v>
                </c:pt>
                <c:pt idx="4">
                  <c:v>7.6910902169736772</c:v>
                </c:pt>
                <c:pt idx="6">
                  <c:v>8.8566730105104394</c:v>
                </c:pt>
                <c:pt idx="7">
                  <c:v>8.6900495948367542</c:v>
                </c:pt>
                <c:pt idx="8">
                  <c:v>8.6900495948367542</c:v>
                </c:pt>
                <c:pt idx="9">
                  <c:v>8.6962429925971634</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0302013759755333</c:v>
                </c:pt>
                <c:pt idx="5">
                  <c:v>7.6910902169736772</c:v>
                </c:pt>
                <c:pt idx="10">
                  <c:v>7.8696379925971645</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6.6981695208368572</c:v>
                </c:pt>
                <c:pt idx="3">
                  <c:v>4.5420633589074721E-2</c:v>
                </c:pt>
                <c:pt idx="8">
                  <c:v>0.35769439776040951</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8.2701313427787498E-2</c:v>
                </c:pt>
                <c:pt idx="6">
                  <c:v>1.2523206463236861E-2</c:v>
                </c:pt>
                <c:pt idx="7">
                  <c:v>0.16662341567368541</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1.1781060000000001</c:v>
                </c:pt>
                <c:pt idx="10">
                  <c:v>0.82660500000000003</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1.1781060000000001</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9">
                  <c:v>0.35150100000000006</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0302013759755333</c:v>
                </c:pt>
                <c:pt idx="5">
                  <c:v>8.8691962169736769</c:v>
                </c:pt>
                <c:pt idx="10">
                  <c:v>8.6962429925971652</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Uitkeringsont. min. bijstandsont.</c:v>
                </c:pt>
                <c:pt idx="2">
                  <c:v>Ouders lang psychisch medicijngebruik</c:v>
                </c:pt>
                <c:pt idx="3">
                  <c:v>Gem. gestand. inkomen (huish. kinderen)</c:v>
                </c:pt>
                <c:pt idx="4">
                  <c:v>Gem. Gestand. inkomen (huishoudens)</c:v>
                </c:pt>
                <c:pt idx="5">
                  <c:v>Eenouderhuishoudens</c:v>
                </c:pt>
                <c:pt idx="6">
                  <c:v>Eenouderhuishoudens 2 of meer kinderen</c:v>
                </c:pt>
                <c:pt idx="7">
                  <c:v>BO leerlingen, leerlingengewicht 1,2</c:v>
                </c:pt>
                <c:pt idx="8">
                  <c:v>Bijstandsont. eenouderhuishoudens</c:v>
                </c:pt>
                <c:pt idx="9">
                  <c:v>BO leerlingen, leerlingengewicht 0,3</c:v>
                </c:pt>
                <c:pt idx="10">
                  <c:v>Overig</c:v>
                </c:pt>
              </c:strCache>
            </c:strRef>
          </c:cat>
          <c:val>
            <c:numRef>
              <c:f>Sheet1!$B$2:$B$12</c:f>
              <c:numCache>
                <c:formatCode>General</c:formatCode>
                <c:ptCount val="11"/>
                <c:pt idx="0">
                  <c:v>4.4989052659200004</c:v>
                </c:pt>
                <c:pt idx="1">
                  <c:v>2.25491799</c:v>
                </c:pt>
                <c:pt idx="2">
                  <c:v>1.900457487685296</c:v>
                </c:pt>
                <c:pt idx="3">
                  <c:v>-1.3121608517472001</c:v>
                </c:pt>
                <c:pt idx="4">
                  <c:v>-1.2580442604704001</c:v>
                </c:pt>
                <c:pt idx="5">
                  <c:v>0.7164353133600001</c:v>
                </c:pt>
                <c:pt idx="6">
                  <c:v>0.58052743215999991</c:v>
                </c:pt>
                <c:pt idx="7">
                  <c:v>-0.37032546928000004</c:v>
                </c:pt>
                <c:pt idx="8">
                  <c:v>0.36200941920000002</c:v>
                </c:pt>
                <c:pt idx="9">
                  <c:v>-0.30003501528000004</c:v>
                </c:pt>
                <c:pt idx="10">
                  <c:v>0.796950681049468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7"/>
                <c:pt idx="0">
                  <c:v>Voogdij 18 plus</c:v>
                </c:pt>
                <c:pt idx="1">
                  <c:v>Transformatiefonds SD Jeugd</c:v>
                </c:pt>
                <c:pt idx="6">
                  <c:v>Suppletie uitkering IUSD</c:v>
                </c:pt>
              </c:strCache>
            </c:strRef>
          </c:cat>
          <c:val>
            <c:numRef>
              <c:f>Sheet1!$B$2:$B$12</c:f>
              <c:numCache>
                <c:formatCode>General</c:formatCode>
                <c:ptCount val="11"/>
                <c:pt idx="0">
                  <c:v>0.86290299999999998</c:v>
                </c:pt>
                <c:pt idx="1">
                  <c:v>0</c:v>
                </c:pt>
                <c:pt idx="6">
                  <c:v>-3.6297999999999997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3280274285807678</c:v>
                </c:pt>
                <c:pt idx="1">
                  <c:v>10.083720140895771</c:v>
                </c:pt>
                <c:pt idx="2">
                  <c:v>10.76936594687727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2.320195</c:v>
                </c:pt>
                <c:pt idx="1">
                  <c:v>-9.7789999999999995E-3</c:v>
                </c:pt>
                <c:pt idx="2">
                  <c:v>3.0810000000000001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5.6482224285807678</c:v>
                </c:pt>
                <c:pt idx="1">
                  <c:v>10.073941140895771</c:v>
                </c:pt>
                <c:pt idx="2">
                  <c:v>10.80017594687727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33.01468539491478</c:v>
                </c:pt>
                <c:pt idx="1">
                  <c:v>402.92975868679656</c:v>
                </c:pt>
                <c:pt idx="2">
                  <c:v>430.3270976934899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92.73361310951239</c:v>
                </c:pt>
                <c:pt idx="1">
                  <c:v>-0.39075361623911131</c:v>
                </c:pt>
                <c:pt idx="2">
                  <c:v>1.23111963557899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25.74829850442717</c:v>
                </c:pt>
                <c:pt idx="1">
                  <c:v>402.53900507055744</c:v>
                </c:pt>
                <c:pt idx="2">
                  <c:v>431.558217329068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C$2:$C$10</c:f>
              <c:numCache>
                <c:formatCode>General</c:formatCode>
                <c:ptCount val="9"/>
                <c:pt idx="0">
                  <c:v>430.32709769348992</c:v>
                </c:pt>
                <c:pt idx="2">
                  <c:v>407.82526525791008</c:v>
                </c:pt>
                <c:pt idx="3">
                  <c:v>450.65127607084082</c:v>
                </c:pt>
                <c:pt idx="4">
                  <c:v>408.28640843278038</c:v>
                </c:pt>
                <c:pt idx="5">
                  <c:v>510.67589879533313</c:v>
                </c:pt>
                <c:pt idx="7">
                  <c:v>444.35971213921607</c:v>
                </c:pt>
                <c:pt idx="8">
                  <c:v>390.6703198872700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D$2:$D$10</c:f>
              <c:numCache>
                <c:formatCode>General</c:formatCode>
                <c:ptCount val="9"/>
                <c:pt idx="0">
                  <c:v>1.231119635578998</c:v>
                </c:pt>
                <c:pt idx="2">
                  <c:v>0.8513610601101621</c:v>
                </c:pt>
                <c:pt idx="3">
                  <c:v>0.75958495252594049</c:v>
                </c:pt>
                <c:pt idx="4">
                  <c:v>1.1407484657655129</c:v>
                </c:pt>
                <c:pt idx="5">
                  <c:v>1.1286162149291639</c:v>
                </c:pt>
                <c:pt idx="7">
                  <c:v>0.9700776733326949</c:v>
                </c:pt>
                <c:pt idx="8">
                  <c:v>144.3367649639689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B$2:$B$10</c:f>
              <c:numCache>
                <c:formatCode>General</c:formatCode>
                <c:ptCount val="9"/>
                <c:pt idx="0">
                  <c:v>431.5582173290689</c:v>
                </c:pt>
                <c:pt idx="2">
                  <c:v>408.67662631802023</c:v>
                </c:pt>
                <c:pt idx="3">
                  <c:v>451.41086102336681</c:v>
                </c:pt>
                <c:pt idx="4">
                  <c:v>409.42715689854589</c:v>
                </c:pt>
                <c:pt idx="5">
                  <c:v>511.80451501026226</c:v>
                </c:pt>
                <c:pt idx="7">
                  <c:v>445.32978981254882</c:v>
                </c:pt>
                <c:pt idx="8">
                  <c:v>535.0070848512389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chemeClr val="tx1">
                <a:lumMod val="50000"/>
                <a:lumOff val="50000"/>
              </a:schemeClr>
            </a:solidFill>
            <a:ln>
              <a:noFill/>
            </a:ln>
            <a:effectLst/>
          </c:spPr>
          <c:invertIfNegative val="0"/>
          <c:cat>
            <c:numRef>
              <c:f>Sheet1!$A$2:$A$4</c:f>
              <c:numCache>
                <c:formatCode>General</c:formatCode>
                <c:ptCount val="3"/>
                <c:pt idx="0">
                  <c:v>2018</c:v>
                </c:pt>
                <c:pt idx="1">
                  <c:v>2019</c:v>
                </c:pt>
                <c:pt idx="2">
                  <c:v>2020</c:v>
                </c:pt>
              </c:numCache>
            </c:numRef>
          </c:cat>
          <c:val>
            <c:numRef>
              <c:f>Sheet1!$C$2:$C$4</c:f>
              <c:numCache>
                <c:formatCode>0%</c:formatCode>
                <c:ptCount val="3"/>
                <c:pt idx="0">
                  <c:v>0.92940580025390485</c:v>
                </c:pt>
                <c:pt idx="1">
                  <c:v>0.9293093693489517</c:v>
                </c:pt>
                <c:pt idx="2">
                  <c:v>0.89234184104665171</c:v>
                </c:pt>
              </c:numCache>
            </c:numRef>
          </c:val>
          <c:extLst>
            <c:ext xmlns:c16="http://schemas.microsoft.com/office/drawing/2014/chart" uri="{C3380CC4-5D6E-409C-BE32-E72D297353CC}">
              <c16:uniqueId val="{00000000-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0%</c:formatCode>
                <c:ptCount val="3"/>
                <c:pt idx="0">
                  <c:v>0.92940580025390485</c:v>
                </c:pt>
                <c:pt idx="1">
                  <c:v>0.9293093693489517</c:v>
                </c:pt>
                <c:pt idx="2">
                  <c:v>0.89234184104665171</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At val="0"/>
        <c:auto val="1"/>
        <c:lblAlgn val="ctr"/>
        <c:lblOffset val="100"/>
        <c:noMultiLvlLbl val="0"/>
      </c:catAx>
      <c:valAx>
        <c:axId val="904930720"/>
        <c:scaling>
          <c:orientation val="minMax"/>
          <c:min val="0"/>
        </c:scaling>
        <c:delete val="1"/>
        <c:axPos val="l"/>
        <c:numFmt formatCode="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5.6482224285807678</c:v>
                </c:pt>
                <c:pt idx="2">
                  <c:v>5.7328581449203355</c:v>
                </c:pt>
                <c:pt idx="3">
                  <c:v>11.797059654061867</c:v>
                </c:pt>
                <c:pt idx="4">
                  <c:v>10.073941140895771</c:v>
                </c:pt>
                <c:pt idx="6">
                  <c:v>10.073941140895771</c:v>
                </c:pt>
                <c:pt idx="7">
                  <c:v>10.243027474151736</c:v>
                </c:pt>
                <c:pt idx="8">
                  <c:v>10.260751956963015</c:v>
                </c:pt>
                <c:pt idx="9">
                  <c:v>10.759586946877278</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3280274285807678</c:v>
                </c:pt>
                <c:pt idx="5">
                  <c:v>10.083720140895771</c:v>
                </c:pt>
                <c:pt idx="10">
                  <c:v>10.769365946877278</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8.4635716339568026E-2</c:v>
                </c:pt>
                <c:pt idx="2">
                  <c:v>6.0642015091415313</c:v>
                </c:pt>
                <c:pt idx="3">
                  <c:v>0.60685548683390378</c:v>
                </c:pt>
                <c:pt idx="6">
                  <c:v>0.16908633325596442</c:v>
                </c:pt>
                <c:pt idx="7">
                  <c:v>1.7724482811278489E-2</c:v>
                </c:pt>
                <c:pt idx="8">
                  <c:v>0.4988349899142636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2.320195</c:v>
                </c:pt>
                <c:pt idx="5">
                  <c:v>-9.7789999999999822E-3</c:v>
                </c:pt>
                <c:pt idx="10">
                  <c:v>3.0810000000000018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4.0589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4">
                  <c:v>2.329974</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5.6482224285807678</c:v>
                </c:pt>
                <c:pt idx="5">
                  <c:v>10.073941140895771</c:v>
                </c:pt>
                <c:pt idx="10">
                  <c:v>10.800175946877278</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edicijngebruik met drempel</c:v>
                </c:pt>
                <c:pt idx="1">
                  <c:v>Inwoners</c:v>
                </c:pt>
                <c:pt idx="2">
                  <c:v>Huishoudens met laag inkomen (drempel)</c:v>
                </c:pt>
                <c:pt idx="3">
                  <c:v>Wajong</c:v>
                </c:pt>
                <c:pt idx="4">
                  <c:v>Ouderen</c:v>
                </c:pt>
                <c:pt idx="5">
                  <c:v>Uitkeringsont. min bijstandsont.</c:v>
                </c:pt>
                <c:pt idx="6">
                  <c:v>Gem. gestandaardiseerd inkomen 75 t/m 84</c:v>
                </c:pt>
                <c:pt idx="7">
                  <c:v>Klantenpotentieel lokaal</c:v>
                </c:pt>
                <c:pt idx="8">
                  <c:v>Huishoudens</c:v>
                </c:pt>
                <c:pt idx="9">
                  <c:v>Gem. gestandaardiseerd inkomen 85+</c:v>
                </c:pt>
                <c:pt idx="10">
                  <c:v>Overig</c:v>
                </c:pt>
              </c:strCache>
            </c:strRef>
          </c:cat>
          <c:val>
            <c:numRef>
              <c:f>Sheet1!$B$2:$B$12</c:f>
              <c:numCache>
                <c:formatCode>General</c:formatCode>
                <c:ptCount val="11"/>
                <c:pt idx="0">
                  <c:v>2.5322653957381864</c:v>
                </c:pt>
                <c:pt idx="1">
                  <c:v>1.3696079124000002</c:v>
                </c:pt>
                <c:pt idx="2">
                  <c:v>1.2487374958240001</c:v>
                </c:pt>
                <c:pt idx="3">
                  <c:v>1.0621434470400002</c:v>
                </c:pt>
                <c:pt idx="4">
                  <c:v>0.79080293448000005</c:v>
                </c:pt>
                <c:pt idx="5">
                  <c:v>0.50593023000000004</c:v>
                </c:pt>
                <c:pt idx="6">
                  <c:v>0.39500033350720798</c:v>
                </c:pt>
                <c:pt idx="7">
                  <c:v>0.34125056679999999</c:v>
                </c:pt>
                <c:pt idx="8">
                  <c:v>0.31776001920000002</c:v>
                </c:pt>
                <c:pt idx="9">
                  <c:v>0.30449115181305603</c:v>
                </c:pt>
                <c:pt idx="10">
                  <c:v>1.901376460074825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WMO</c:v>
                </c:pt>
                <c:pt idx="1">
                  <c:v>Programma Sociaal domein</c:v>
                </c:pt>
              </c:strCache>
            </c:strRef>
          </c:cat>
          <c:val>
            <c:numRef>
              <c:f>Sheet1!$B$2:$B$12</c:f>
              <c:numCache>
                <c:formatCode>General</c:formatCode>
                <c:ptCount val="11"/>
                <c:pt idx="0">
                  <c:v>3.0810000000000001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3638985643938</c:v>
                </c:pt>
                <c:pt idx="1">
                  <c:v>2.4478442852949396</c:v>
                </c:pt>
                <c:pt idx="2">
                  <c:v>2.564953533104560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3.8159999999999999E-2</c:v>
                </c:pt>
                <c:pt idx="1">
                  <c:v>3.8159999999999999E-2</c:v>
                </c:pt>
                <c:pt idx="2">
                  <c:v>3.8159999999999999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4020585643937999</c:v>
                </c:pt>
                <c:pt idx="1">
                  <c:v>2.4860042852949396</c:v>
                </c:pt>
                <c:pt idx="2">
                  <c:v>2.603113533104560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87.52435481865569</c:v>
                </c:pt>
                <c:pt idx="1">
                  <c:v>447.33996441793488</c:v>
                </c:pt>
                <c:pt idx="2">
                  <c:v>468.7415082427924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6.2557377049180332</c:v>
                </c:pt>
                <c:pt idx="1">
                  <c:v>6.9736842105263159</c:v>
                </c:pt>
                <c:pt idx="2">
                  <c:v>6.9736842105263159</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93.78009252357373</c:v>
                </c:pt>
                <c:pt idx="1">
                  <c:v>454.31364862846124</c:v>
                </c:pt>
                <c:pt idx="2">
                  <c:v>475.7151924533187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C$2:$C$10</c:f>
              <c:numCache>
                <c:formatCode>General</c:formatCode>
                <c:ptCount val="9"/>
                <c:pt idx="0">
                  <c:v>468.74150824279246</c:v>
                </c:pt>
                <c:pt idx="2">
                  <c:v>518.03790526038927</c:v>
                </c:pt>
                <c:pt idx="3">
                  <c:v>576.58048197933203</c:v>
                </c:pt>
                <c:pt idx="4">
                  <c:v>510.0122318903621</c:v>
                </c:pt>
                <c:pt idx="5">
                  <c:v>636.18565335455571</c:v>
                </c:pt>
                <c:pt idx="7">
                  <c:v>560.20406812115982</c:v>
                </c:pt>
                <c:pt idx="8">
                  <c:v>616.96967866372336</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D$2:$D$10</c:f>
              <c:numCache>
                <c:formatCode>General</c:formatCode>
                <c:ptCount val="9"/>
                <c:pt idx="0">
                  <c:v>6.9736842105263159</c:v>
                </c:pt>
                <c:pt idx="2">
                  <c:v>9.1588560442201388</c:v>
                </c:pt>
                <c:pt idx="3">
                  <c:v>8.426931106471816</c:v>
                </c:pt>
                <c:pt idx="4">
                  <c:v>8.833726162416971</c:v>
                </c:pt>
                <c:pt idx="5">
                  <c:v>13.76893511191499</c:v>
                </c:pt>
                <c:pt idx="7">
                  <c:v>10.04711210625598</c:v>
                </c:pt>
                <c:pt idx="8">
                  <c:v>12.5083590077298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B$2:$B$10</c:f>
              <c:numCache>
                <c:formatCode>General</c:formatCode>
                <c:ptCount val="9"/>
                <c:pt idx="0">
                  <c:v>475.71519245331876</c:v>
                </c:pt>
                <c:pt idx="2">
                  <c:v>527.19676130460937</c:v>
                </c:pt>
                <c:pt idx="3">
                  <c:v>585.00741308580382</c:v>
                </c:pt>
                <c:pt idx="4">
                  <c:v>518.84595805277911</c:v>
                </c:pt>
                <c:pt idx="5">
                  <c:v>649.95458846647068</c:v>
                </c:pt>
                <c:pt idx="7">
                  <c:v>570.25118022741583</c:v>
                </c:pt>
                <c:pt idx="8">
                  <c:v>629.47803767145308</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2738716814148812</c:v>
                </c:pt>
                <c:pt idx="2">
                  <c:v>2.2738716814148812</c:v>
                </c:pt>
                <c:pt idx="3">
                  <c:v>2.4250554834603184</c:v>
                </c:pt>
                <c:pt idx="4">
                  <c:v>2.4860042852949396</c:v>
                </c:pt>
                <c:pt idx="6">
                  <c:v>2.4837784312970252</c:v>
                </c:pt>
                <c:pt idx="7">
                  <c:v>2.4837784312970252</c:v>
                </c:pt>
                <c:pt idx="8">
                  <c:v>2.4837784312970252</c:v>
                </c:pt>
                <c:pt idx="9">
                  <c:v>2.6031135331045605</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3638985643938</c:v>
                </c:pt>
                <c:pt idx="5">
                  <c:v>2.4478442852949396</c:v>
                </c:pt>
                <c:pt idx="10">
                  <c:v>2.5649535331045605</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0.1511838020454373</c:v>
                </c:pt>
                <c:pt idx="3">
                  <c:v>6.094880183462096E-2</c:v>
                </c:pt>
                <c:pt idx="8">
                  <c:v>0.1193351018075353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0.12818688297891867</c:v>
                </c:pt>
                <c:pt idx="6">
                  <c:v>2.2258539979143665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3.8159999999999999E-2</c:v>
                </c:pt>
                <c:pt idx="5">
                  <c:v>3.8159999999999999E-2</c:v>
                </c:pt>
                <c:pt idx="10">
                  <c:v>3.8159999999999999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4020585643937999</c:v>
                </c:pt>
                <c:pt idx="5">
                  <c:v>2.4860042852949396</c:v>
                </c:pt>
                <c:pt idx="10">
                  <c:v>2.6031135331045605</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Leerlingen (V)SO</c:v>
                </c:pt>
                <c:pt idx="2">
                  <c:v>Leerlingen VO</c:v>
                </c:pt>
                <c:pt idx="3">
                  <c:v>Huishoudens laag inkomen (drempel)</c:v>
                </c:pt>
                <c:pt idx="4">
                  <c:v>Minderheden</c:v>
                </c:pt>
                <c:pt idx="5">
                  <c:v>Omgevingsadressendichtheid</c:v>
                </c:pt>
                <c:pt idx="6">
                  <c:v>Inwoners</c:v>
                </c:pt>
                <c:pt idx="7">
                  <c:v>Land</c:v>
                </c:pt>
                <c:pt idx="8">
                  <c:v>Kernen</c:v>
                </c:pt>
                <c:pt idx="9">
                  <c:v>Binnenwater</c:v>
                </c:pt>
                <c:pt idx="10">
                  <c:v>Overig</c:v>
                </c:pt>
              </c:strCache>
            </c:strRef>
          </c:cat>
          <c:val>
            <c:numRef>
              <c:f>Sheet1!$B$2:$B$12</c:f>
              <c:numCache>
                <c:formatCode>General</c:formatCode>
                <c:ptCount val="11"/>
                <c:pt idx="0">
                  <c:v>1.6106897664000002</c:v>
                </c:pt>
                <c:pt idx="1">
                  <c:v>0.38308859663360001</c:v>
                </c:pt>
                <c:pt idx="2">
                  <c:v>0.16525968659200005</c:v>
                </c:pt>
                <c:pt idx="3">
                  <c:v>0.14612512891600002</c:v>
                </c:pt>
                <c:pt idx="4">
                  <c:v>0.104829569</c:v>
                </c:pt>
                <c:pt idx="5">
                  <c:v>8.5433162202960003E-2</c:v>
                </c:pt>
                <c:pt idx="6">
                  <c:v>4.1955588480000007E-2</c:v>
                </c:pt>
                <c:pt idx="7">
                  <c:v>1.7765803639999998E-2</c:v>
                </c:pt>
                <c:pt idx="8">
                  <c:v>7.1285702799999996E-3</c:v>
                </c:pt>
                <c:pt idx="9">
                  <c:v>1.6282489600000002E-3</c:v>
                </c:pt>
                <c:pt idx="10">
                  <c:v>1.0494119999999718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oorschoolse voorz peuters</c:v>
                </c:pt>
                <c:pt idx="1">
                  <c:v>Aanpak lerarentekort G4 2020-2021</c:v>
                </c:pt>
              </c:strCache>
            </c:strRef>
          </c:cat>
          <c:val>
            <c:numRef>
              <c:f>Sheet1!$B$2:$B$12</c:f>
              <c:numCache>
                <c:formatCode>General</c:formatCode>
                <c:ptCount val="11"/>
                <c:pt idx="0">
                  <c:v>3.8159999999999999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16720225211413337</c:v>
                </c:pt>
                <c:pt idx="1">
                  <c:v>0.22375989578930669</c:v>
                </c:pt>
                <c:pt idx="2">
                  <c:v>0.2333795863748267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16720225211413337</c:v>
                </c:pt>
                <c:pt idx="1">
                  <c:v>0.22375989578930669</c:v>
                </c:pt>
                <c:pt idx="2">
                  <c:v>0.2333795863748267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3319139421999999</c:v>
                </c:pt>
                <c:pt idx="1">
                  <c:v>-3.4008254300599998</c:v>
                </c:pt>
                <c:pt idx="2">
                  <c:v>-3.178288627959999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3319139421999999</c:v>
                </c:pt>
                <c:pt idx="1">
                  <c:v>-3.4008254300599998</c:v>
                </c:pt>
                <c:pt idx="2">
                  <c:v>-3.178288627959999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6.6827438894537714</c:v>
                </c:pt>
                <c:pt idx="1">
                  <c:v>8.9410970905980456</c:v>
                </c:pt>
                <c:pt idx="2">
                  <c:v>9.325484950644398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6.6827438894537714</c:v>
                </c:pt>
                <c:pt idx="1">
                  <c:v>8.9410970905980456</c:v>
                </c:pt>
                <c:pt idx="2">
                  <c:v>9.325484950644398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C$2:$C$10</c:f>
              <c:numCache>
                <c:formatCode>General</c:formatCode>
                <c:ptCount val="9"/>
                <c:pt idx="0">
                  <c:v>9.3254849506443982</c:v>
                </c:pt>
                <c:pt idx="2">
                  <c:v>7.6751174782235712</c:v>
                </c:pt>
                <c:pt idx="3">
                  <c:v>7.6641857101665263</c:v>
                </c:pt>
                <c:pt idx="4">
                  <c:v>8.9359595904557896</c:v>
                </c:pt>
                <c:pt idx="5">
                  <c:v>8.5620323906186755</c:v>
                </c:pt>
                <c:pt idx="7">
                  <c:v>8.2093237923661402</c:v>
                </c:pt>
                <c:pt idx="8">
                  <c:v>10.21194852687752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D$2:$D$10</c:f>
              <c:numCache>
                <c:formatCode>General</c:formatCode>
                <c:ptCount val="9"/>
                <c:pt idx="0">
                  <c:v>0</c:v>
                </c:pt>
                <c:pt idx="2">
                  <c:v>0</c:v>
                </c:pt>
                <c:pt idx="3">
                  <c:v>0</c:v>
                </c:pt>
                <c:pt idx="4">
                  <c:v>2.4790822670570773</c:v>
                </c:pt>
                <c:pt idx="5">
                  <c:v>5.2621532600500016</c:v>
                </c:pt>
                <c:pt idx="7">
                  <c:v>1.9353088817767699</c:v>
                </c:pt>
                <c:pt idx="8">
                  <c:v>1.3105011218792462</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B$2:$B$10</c:f>
              <c:numCache>
                <c:formatCode>General</c:formatCode>
                <c:ptCount val="9"/>
                <c:pt idx="0">
                  <c:v>9.3254849506443982</c:v>
                </c:pt>
                <c:pt idx="2">
                  <c:v>7.6751174782235712</c:v>
                </c:pt>
                <c:pt idx="3">
                  <c:v>7.6641857101665263</c:v>
                </c:pt>
                <c:pt idx="4">
                  <c:v>11.415041857512868</c:v>
                </c:pt>
                <c:pt idx="5">
                  <c:v>13.824185650668678</c:v>
                </c:pt>
                <c:pt idx="7">
                  <c:v>10.144632674142912</c:v>
                </c:pt>
                <c:pt idx="8">
                  <c:v>11.522449648756767</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16416372196326909</c:v>
                </c:pt>
                <c:pt idx="2">
                  <c:v>0.16416372196326909</c:v>
                </c:pt>
                <c:pt idx="3">
                  <c:v>0.21887555954458615</c:v>
                </c:pt>
                <c:pt idx="4">
                  <c:v>0.22375989578930672</c:v>
                </c:pt>
                <c:pt idx="6">
                  <c:v>0.22252908762429566</c:v>
                </c:pt>
                <c:pt idx="7">
                  <c:v>0.22252908762429566</c:v>
                </c:pt>
                <c:pt idx="8">
                  <c:v>0.22252908762429566</c:v>
                </c:pt>
                <c:pt idx="9">
                  <c:v>0.2333795863748267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16720225211413337</c:v>
                </c:pt>
                <c:pt idx="5">
                  <c:v>0.22375989578930669</c:v>
                </c:pt>
                <c:pt idx="10">
                  <c:v>0.23337958637482673</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5.4711837581317049E-2</c:v>
                </c:pt>
                <c:pt idx="3">
                  <c:v>4.8843362447205533E-3</c:v>
                </c:pt>
                <c:pt idx="8">
                  <c:v>1.0850498750531059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3.038530150864274E-3</c:v>
                </c:pt>
                <c:pt idx="6">
                  <c:v>1.2308081650110243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16720225211413337</c:v>
                </c:pt>
                <c:pt idx="5">
                  <c:v>0.22375989578930669</c:v>
                </c:pt>
                <c:pt idx="10">
                  <c:v>0.23337958637482673</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Inwoners</c:v>
                </c:pt>
                <c:pt idx="2">
                  <c:v>Huishoudens laag inkomen (drempel)</c:v>
                </c:pt>
                <c:pt idx="3">
                  <c:v>Minderheden</c:v>
                </c:pt>
                <c:pt idx="4">
                  <c:v>Omgevingsadressendichtheid</c:v>
                </c:pt>
                <c:pt idx="5">
                  <c:v>Eenouderhuishoudens</c:v>
                </c:pt>
                <c:pt idx="6">
                  <c:v>Bijstandsontvangers</c:v>
                </c:pt>
                <c:pt idx="7">
                  <c:v>Huishoudens</c:v>
                </c:pt>
                <c:pt idx="8">
                  <c:v>Uitkeringsontvangers</c:v>
                </c:pt>
                <c:pt idx="9">
                  <c:v>Klantenpotentieel lokaal</c:v>
                </c:pt>
                <c:pt idx="10">
                  <c:v>Overig</c:v>
                </c:pt>
              </c:strCache>
            </c:strRef>
          </c:cat>
          <c:val>
            <c:numRef>
              <c:f>Sheet1!$B$2:$B$12</c:f>
              <c:numCache>
                <c:formatCode>General</c:formatCode>
                <c:ptCount val="11"/>
                <c:pt idx="0">
                  <c:v>9.0413856000000001E-2</c:v>
                </c:pt>
                <c:pt idx="1">
                  <c:v>3.1063272240000002E-2</c:v>
                </c:pt>
                <c:pt idx="2">
                  <c:v>2.5294256312E-2</c:v>
                </c:pt>
                <c:pt idx="3">
                  <c:v>1.8385827200000003E-2</c:v>
                </c:pt>
                <c:pt idx="4">
                  <c:v>1.6728171620160003E-2</c:v>
                </c:pt>
                <c:pt idx="5">
                  <c:v>1.0995806640000001E-2</c:v>
                </c:pt>
                <c:pt idx="6">
                  <c:v>9.1925159733333428E-3</c:v>
                </c:pt>
                <c:pt idx="7">
                  <c:v>7.9666329600000009E-3</c:v>
                </c:pt>
                <c:pt idx="8">
                  <c:v>6.0838062133333438E-3</c:v>
                </c:pt>
                <c:pt idx="9">
                  <c:v>5.1405067999999998E-3</c:v>
                </c:pt>
                <c:pt idx="10">
                  <c:v>1.2114934416000034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Gezondsheidsachterstand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4.4825052422000002</c:v>
                </c:pt>
                <c:pt idx="1">
                  <c:v>4.62454862426</c:v>
                </c:pt>
                <c:pt idx="2">
                  <c:v>4.848565507760000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7.1925000000000003E-2</c:v>
                </c:pt>
                <c:pt idx="1">
                  <c:v>0.110556</c:v>
                </c:pt>
                <c:pt idx="2">
                  <c:v>0.113126</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5544302422000005</c:v>
                </c:pt>
                <c:pt idx="1">
                  <c:v>4.7351046242599999</c:v>
                </c:pt>
                <c:pt idx="2">
                  <c:v>4.961691507760000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00</c:v>
                </c:pt>
                <c:pt idx="1">
                  <c:v>2000</c:v>
                </c:pt>
                <c:pt idx="2">
                  <c:v>2000</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000</c:v>
                </c:pt>
                <c:pt idx="1">
                  <c:v>1000</c:v>
                </c:pt>
                <c:pt idx="2">
                  <c:v>100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000</c:v>
                </c:pt>
                <c:pt idx="1">
                  <c:v>3000</c:v>
                </c:pt>
                <c:pt idx="2">
                  <c:v>3000</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C$2:$C$10</c:f>
              <c:numCache>
                <c:formatCode>General</c:formatCode>
                <c:ptCount val="9"/>
                <c:pt idx="0">
                  <c:v>193.74112953568292</c:v>
                </c:pt>
                <c:pt idx="2">
                  <c:v>197.75111236529096</c:v>
                </c:pt>
                <c:pt idx="3">
                  <c:v>196.63966532911346</c:v>
                </c:pt>
                <c:pt idx="4">
                  <c:v>197.79686401989494</c:v>
                </c:pt>
                <c:pt idx="5">
                  <c:v>194.29836009365451</c:v>
                </c:pt>
                <c:pt idx="7">
                  <c:v>196.62150045198848</c:v>
                </c:pt>
                <c:pt idx="8">
                  <c:v>213.995119850484</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D$2:$D$10</c:f>
              <c:numCache>
                <c:formatCode>General</c:formatCode>
                <c:ptCount val="9"/>
                <c:pt idx="0">
                  <c:v>4.5203388475984978</c:v>
                </c:pt>
                <c:pt idx="2">
                  <c:v>4.3317234772890556</c:v>
                </c:pt>
                <c:pt idx="3">
                  <c:v>4.2477064220183482</c:v>
                </c:pt>
                <c:pt idx="4">
                  <c:v>4.624483574666078</c:v>
                </c:pt>
                <c:pt idx="5">
                  <c:v>4.3119568236834791</c:v>
                </c:pt>
                <c:pt idx="7">
                  <c:v>4.37896757441424</c:v>
                </c:pt>
                <c:pt idx="8">
                  <c:v>5.346762092221903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B$2:$B$10</c:f>
              <c:numCache>
                <c:formatCode>General</c:formatCode>
                <c:ptCount val="9"/>
                <c:pt idx="0">
                  <c:v>198.2614683832814</c:v>
                </c:pt>
                <c:pt idx="2">
                  <c:v>202.08283584258001</c:v>
                </c:pt>
                <c:pt idx="3">
                  <c:v>200.88737175113181</c:v>
                </c:pt>
                <c:pt idx="4">
                  <c:v>202.42134759456101</c:v>
                </c:pt>
                <c:pt idx="5">
                  <c:v>198.610316917338</c:v>
                </c:pt>
                <c:pt idx="7">
                  <c:v>201.0004680264027</c:v>
                </c:pt>
                <c:pt idx="8">
                  <c:v>219.3418819427059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4.5544302422000005</c:v>
                </c:pt>
                <c:pt idx="2">
                  <c:v>4.5550594080942082</c:v>
                </c:pt>
                <c:pt idx="3">
                  <c:v>4.5550594080942082</c:v>
                </c:pt>
                <c:pt idx="4">
                  <c:v>4.6964736242600003</c:v>
                </c:pt>
                <c:pt idx="6">
                  <c:v>4.7335374194480906</c:v>
                </c:pt>
                <c:pt idx="7">
                  <c:v>4.7335374194480906</c:v>
                </c:pt>
                <c:pt idx="8">
                  <c:v>4.7335374194480906</c:v>
                </c:pt>
                <c:pt idx="9">
                  <c:v>4.9591215077599999</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4.4825052422000002</c:v>
                </c:pt>
                <c:pt idx="5">
                  <c:v>4.62454862426</c:v>
                </c:pt>
                <c:pt idx="10">
                  <c:v>4.8485655077600001</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6.2916589420755804E-4</c:v>
                </c:pt>
                <c:pt idx="3">
                  <c:v>0.14141421616579222</c:v>
                </c:pt>
                <c:pt idx="8">
                  <c:v>0.22558408831190957</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6">
                  <c:v>1.5672048119095348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7.1925000000000003E-2</c:v>
                </c:pt>
                <c:pt idx="5">
                  <c:v>0.110556</c:v>
                </c:pt>
                <c:pt idx="10">
                  <c:v>0.113126</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3.8630999999999999E-2</c:v>
                </c:pt>
                <c:pt idx="9">
                  <c:v>2.5700000000000028E-3</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4.5544302422000005</c:v>
                </c:pt>
                <c:pt idx="5">
                  <c:v>4.7351046242599999</c:v>
                </c:pt>
                <c:pt idx="10">
                  <c:v>4.9616915077600003</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Klantenpotentieel lokaal</c:v>
                </c:pt>
                <c:pt idx="2">
                  <c:v>Huishoudens</c:v>
                </c:pt>
                <c:pt idx="3">
                  <c:v>Klantenpotentieel regionaal</c:v>
                </c:pt>
                <c:pt idx="4">
                  <c:v>Opp. historische kernen &lt;40 ha</c:v>
                </c:pt>
                <c:pt idx="10">
                  <c:v>Overig</c:v>
                </c:pt>
              </c:strCache>
            </c:strRef>
          </c:cat>
          <c:val>
            <c:numRef>
              <c:f>Sheet1!$B$2:$B$12</c:f>
              <c:numCache>
                <c:formatCode>General</c:formatCode>
                <c:ptCount val="11"/>
                <c:pt idx="0">
                  <c:v>2.0901144607200002</c:v>
                </c:pt>
                <c:pt idx="1">
                  <c:v>1.34444024</c:v>
                </c:pt>
                <c:pt idx="2">
                  <c:v>1.2820847270400002</c:v>
                </c:pt>
                <c:pt idx="3">
                  <c:v>0.13192608000000003</c:v>
                </c:pt>
                <c:pt idx="5">
                  <c:v>#N/A</c:v>
                </c:pt>
                <c:pt idx="6">
                  <c:v>#N/A</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33.17002167066346</c:v>
                </c:pt>
                <c:pt idx="1">
                  <c:v>-135.89168984496123</c:v>
                </c:pt>
                <c:pt idx="2">
                  <c:v>-126.9994656740989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33.17002167066346</c:v>
                </c:pt>
                <c:pt idx="1">
                  <c:v>-135.89168984496123</c:v>
                </c:pt>
                <c:pt idx="2">
                  <c:v>-126.9994656740989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Combinatiefuncties</c:v>
                </c:pt>
                <c:pt idx="1">
                  <c:v>Bibliotheekmiddelen</c:v>
                </c:pt>
              </c:strCache>
            </c:strRef>
          </c:cat>
          <c:val>
            <c:numRef>
              <c:f>Sheet1!$B$2:$B$12</c:f>
              <c:numCache>
                <c:formatCode>General</c:formatCode>
                <c:ptCount val="11"/>
                <c:pt idx="0">
                  <c:v>0.113126</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5.7053164033231774</c:v>
                </c:pt>
                <c:pt idx="1">
                  <c:v>5.9730845317670189</c:v>
                </c:pt>
                <c:pt idx="2">
                  <c:v>6.171583744749721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14836099999999999</c:v>
                </c:pt>
                <c:pt idx="1">
                  <c:v>0.14836099999999999</c:v>
                </c:pt>
                <c:pt idx="2">
                  <c:v>0.14836099999999999</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5.8536774033231778</c:v>
                </c:pt>
                <c:pt idx="1">
                  <c:v>6.1214455317670193</c:v>
                </c:pt>
                <c:pt idx="2">
                  <c:v>6.319944744749721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28.0302319473692</c:v>
                </c:pt>
                <c:pt idx="1">
                  <c:v>238.67515910521135</c:v>
                </c:pt>
                <c:pt idx="2">
                  <c:v>246.606878636207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5.9296962430055959</c:v>
                </c:pt>
                <c:pt idx="1">
                  <c:v>5.9282745944218016</c:v>
                </c:pt>
                <c:pt idx="2">
                  <c:v>5.9282745944218016</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33.95992819037482</c:v>
                </c:pt>
                <c:pt idx="1">
                  <c:v>244.60343369963314</c:v>
                </c:pt>
                <c:pt idx="2">
                  <c:v>252.5351532306290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C$2:$C$10</c:f>
              <c:numCache>
                <c:formatCode>General</c:formatCode>
                <c:ptCount val="9"/>
                <c:pt idx="0">
                  <c:v>246.6068786362072</c:v>
                </c:pt>
                <c:pt idx="2">
                  <c:v>276.03170439719446</c:v>
                </c:pt>
                <c:pt idx="3">
                  <c:v>210.58627433221395</c:v>
                </c:pt>
                <c:pt idx="4">
                  <c:v>236.91791732678681</c:v>
                </c:pt>
                <c:pt idx="5">
                  <c:v>361.50083917686788</c:v>
                </c:pt>
                <c:pt idx="7">
                  <c:v>271.25918380826579</c:v>
                </c:pt>
                <c:pt idx="8">
                  <c:v>275.2552529274527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D$2:$D$10</c:f>
              <c:numCache>
                <c:formatCode>General</c:formatCode>
                <c:ptCount val="9"/>
                <c:pt idx="0">
                  <c:v>5.9282745944218016</c:v>
                </c:pt>
                <c:pt idx="2">
                  <c:v>1.5920411910273808</c:v>
                </c:pt>
                <c:pt idx="3">
                  <c:v>5.9826529385841916</c:v>
                </c:pt>
                <c:pt idx="4">
                  <c:v>7.3946492318799883</c:v>
                </c:pt>
                <c:pt idx="5">
                  <c:v>5.1347275685543075</c:v>
                </c:pt>
                <c:pt idx="7">
                  <c:v>5.026017732511467</c:v>
                </c:pt>
                <c:pt idx="8">
                  <c:v>5.9654816356031368</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B$2:$B$10</c:f>
              <c:numCache>
                <c:formatCode>General</c:formatCode>
                <c:ptCount val="9"/>
                <c:pt idx="0">
                  <c:v>252.53515323062902</c:v>
                </c:pt>
                <c:pt idx="2">
                  <c:v>277.62374558822188</c:v>
                </c:pt>
                <c:pt idx="3">
                  <c:v>216.56892727079818</c:v>
                </c:pt>
                <c:pt idx="4">
                  <c:v>244.31256655866679</c:v>
                </c:pt>
                <c:pt idx="5">
                  <c:v>366.63556674542218</c:v>
                </c:pt>
                <c:pt idx="7">
                  <c:v>276.28520154077728</c:v>
                </c:pt>
                <c:pt idx="8">
                  <c:v>281.2207345630559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5.8536774033231778</c:v>
                </c:pt>
                <c:pt idx="2">
                  <c:v>5.9397222918745065</c:v>
                </c:pt>
                <c:pt idx="3">
                  <c:v>5.9397222918745065</c:v>
                </c:pt>
                <c:pt idx="4">
                  <c:v>6.1214455317670193</c:v>
                </c:pt>
                <c:pt idx="6">
                  <c:v>6.0539063156982609</c:v>
                </c:pt>
                <c:pt idx="7">
                  <c:v>6.0345536850577215</c:v>
                </c:pt>
                <c:pt idx="8">
                  <c:v>6.0345536850577215</c:v>
                </c:pt>
                <c:pt idx="9">
                  <c:v>6.3199447447497219</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5.7053164033231774</c:v>
                </c:pt>
                <c:pt idx="5">
                  <c:v>5.9730845317670189</c:v>
                </c:pt>
                <c:pt idx="10">
                  <c:v>6.1715837447497215</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8.8485537789371432E-2</c:v>
                </c:pt>
                <c:pt idx="3">
                  <c:v>0.1817232398925131</c:v>
                </c:pt>
                <c:pt idx="8">
                  <c:v>0.28539105969200024</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2">
                  <c:v>2.4406492380429634E-3</c:v>
                </c:pt>
                <c:pt idx="6">
                  <c:v>6.7539216068758165E-2</c:v>
                </c:pt>
                <c:pt idx="7">
                  <c:v>1.935263064053953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14836099999999999</c:v>
                </c:pt>
                <c:pt idx="5">
                  <c:v>0.14836099999999999</c:v>
                </c:pt>
                <c:pt idx="10">
                  <c:v>0.14836099999999999</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5.8536774033231778</c:v>
                </c:pt>
                <c:pt idx="5">
                  <c:v>6.1214455317670193</c:v>
                </c:pt>
                <c:pt idx="10">
                  <c:v>6.3199447447497219</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Omgevingsadressendichtheid</c:v>
                </c:pt>
                <c:pt idx="1">
                  <c:v>Woonruimten</c:v>
                </c:pt>
                <c:pt idx="2">
                  <c:v>Woonruimten * bodemfactor kern</c:v>
                </c:pt>
                <c:pt idx="3">
                  <c:v>Opp. bebouwing kern *bodemfactor kern</c:v>
                </c:pt>
                <c:pt idx="4">
                  <c:v>Inwoners</c:v>
                </c:pt>
                <c:pt idx="5">
                  <c:v>Oppervlak bebouwing woonkernen</c:v>
                </c:pt>
                <c:pt idx="6">
                  <c:v>Oeverlengte*dichtheid *bodemf. Gem.</c:v>
                </c:pt>
                <c:pt idx="7">
                  <c:v>Bedrijfsvestigingen</c:v>
                </c:pt>
                <c:pt idx="8">
                  <c:v>Opp. bebouwing totaal</c:v>
                </c:pt>
                <c:pt idx="9">
                  <c:v>Huishoudens met laag inkomen</c:v>
                </c:pt>
                <c:pt idx="10">
                  <c:v>Overig</c:v>
                </c:pt>
              </c:strCache>
            </c:strRef>
          </c:cat>
          <c:val>
            <c:numRef>
              <c:f>Sheet1!$B$2:$B$12</c:f>
              <c:numCache>
                <c:formatCode>General</c:formatCode>
                <c:ptCount val="11"/>
                <c:pt idx="0">
                  <c:v>1.1664912531558</c:v>
                </c:pt>
                <c:pt idx="1">
                  <c:v>1.0374347755200002</c:v>
                </c:pt>
                <c:pt idx="2">
                  <c:v>0.85353516619800018</c:v>
                </c:pt>
                <c:pt idx="3">
                  <c:v>0.79763810206079999</c:v>
                </c:pt>
                <c:pt idx="4">
                  <c:v>0.65838000384000006</c:v>
                </c:pt>
                <c:pt idx="5">
                  <c:v>0.41253581824000007</c:v>
                </c:pt>
                <c:pt idx="6">
                  <c:v>0.31267659742766601</c:v>
                </c:pt>
                <c:pt idx="7">
                  <c:v>0.23843024296000001</c:v>
                </c:pt>
                <c:pt idx="8">
                  <c:v>8.753930536E-2</c:v>
                </c:pt>
                <c:pt idx="9">
                  <c:v>8.7044776000000004E-2</c:v>
                </c:pt>
                <c:pt idx="10">
                  <c:v>0.51987770398745514</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TH provinciale taken</c:v>
                </c:pt>
                <c:pt idx="1">
                  <c:v>Deltaprogr ruimtelijke adaptatie</c:v>
                </c:pt>
              </c:strCache>
            </c:strRef>
          </c:cat>
          <c:val>
            <c:numRef>
              <c:f>Sheet1!$B$2:$B$12</c:f>
              <c:numCache>
                <c:formatCode>General</c:formatCode>
                <c:ptCount val="11"/>
                <c:pt idx="0">
                  <c:v>0.14836099999999999</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57589138603094614</c:v>
                </c:pt>
                <c:pt idx="1">
                  <c:v>-0.59552346082627949</c:v>
                </c:pt>
                <c:pt idx="2">
                  <c:v>-0.62071881178808597</c:v>
                </c:pt>
              </c:numCache>
            </c:numRef>
          </c:val>
          <c:extLst>
            <c:ext xmlns:c16="http://schemas.microsoft.com/office/drawing/2014/chart" uri="{C3380CC4-5D6E-409C-BE32-E72D297353CC}">
              <c16:uniqueId val="{00000000-3BB3-43E1-B9B7-1E0DD39FEBD0}"/>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3BB3-43E1-B9B7-1E0DD39FEBD0}"/>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57589138603094614</c:v>
                </c:pt>
                <c:pt idx="1">
                  <c:v>-0.59552346082627949</c:v>
                </c:pt>
                <c:pt idx="2">
                  <c:v>-0.62071881178808597</c:v>
                </c:pt>
              </c:numCache>
            </c:numRef>
          </c:val>
          <c:smooth val="0"/>
          <c:extLst>
            <c:ext xmlns:c16="http://schemas.microsoft.com/office/drawing/2014/chart" uri="{C3380CC4-5D6E-409C-BE32-E72D297353CC}">
              <c16:uniqueId val="{00000002-3BB3-43E1-B9B7-1E0DD39FEBD0}"/>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3.017241647919512</c:v>
                </c:pt>
                <c:pt idx="1">
                  <c:v>-23.796190395040338</c:v>
                </c:pt>
                <c:pt idx="2">
                  <c:v>-24.802957395831772</c:v>
                </c:pt>
              </c:numCache>
            </c:numRef>
          </c:val>
          <c:extLst>
            <c:ext xmlns:c16="http://schemas.microsoft.com/office/drawing/2014/chart" uri="{C3380CC4-5D6E-409C-BE32-E72D297353CC}">
              <c16:uniqueId val="{00000000-DF29-4518-A454-F289027AFB24}"/>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DF29-4518-A454-F289027AFB2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3.017241647919512</c:v>
                </c:pt>
                <c:pt idx="1">
                  <c:v>-23.796190395040338</c:v>
                </c:pt>
                <c:pt idx="2">
                  <c:v>-24.802957395831772</c:v>
                </c:pt>
              </c:numCache>
            </c:numRef>
          </c:val>
          <c:smooth val="0"/>
          <c:extLst>
            <c:ext xmlns:c16="http://schemas.microsoft.com/office/drawing/2014/chart" uri="{C3380CC4-5D6E-409C-BE32-E72D297353CC}">
              <c16:uniqueId val="{00000002-DF29-4518-A454-F289027AFB2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C$2:$C$10</c:f>
              <c:numCache>
                <c:formatCode>General</c:formatCode>
                <c:ptCount val="9"/>
                <c:pt idx="0">
                  <c:v>-24.802957395831772</c:v>
                </c:pt>
                <c:pt idx="2">
                  <c:v>-36.400690239209531</c:v>
                </c:pt>
                <c:pt idx="3">
                  <c:v>-40.478575143112941</c:v>
                </c:pt>
                <c:pt idx="4">
                  <c:v>-39.362839103710833</c:v>
                </c:pt>
                <c:pt idx="5">
                  <c:v>-44.438448523014699</c:v>
                </c:pt>
                <c:pt idx="7">
                  <c:v>-40.170138252261999</c:v>
                </c:pt>
                <c:pt idx="8">
                  <c:v>-33.929896422028413</c:v>
                </c:pt>
              </c:numCache>
            </c:numRef>
          </c:val>
          <c:extLst>
            <c:ext xmlns:c16="http://schemas.microsoft.com/office/drawing/2014/chart" uri="{C3380CC4-5D6E-409C-BE32-E72D297353CC}">
              <c16:uniqueId val="{00000000-AD4C-4889-AFEC-545623B4FED5}"/>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AD4C-4889-AFEC-545623B4FED5}"/>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B$2:$B$10</c:f>
              <c:numCache>
                <c:formatCode>General</c:formatCode>
                <c:ptCount val="9"/>
                <c:pt idx="0">
                  <c:v>-24.802957395831772</c:v>
                </c:pt>
                <c:pt idx="2">
                  <c:v>-36.400690239209531</c:v>
                </c:pt>
                <c:pt idx="3">
                  <c:v>-40.478575143112941</c:v>
                </c:pt>
                <c:pt idx="4">
                  <c:v>-39.362839103710833</c:v>
                </c:pt>
                <c:pt idx="5">
                  <c:v>-44.438448523014699</c:v>
                </c:pt>
                <c:pt idx="7">
                  <c:v>-40.170138252261999</c:v>
                </c:pt>
                <c:pt idx="8">
                  <c:v>-33.929896422028413</c:v>
                </c:pt>
              </c:numCache>
            </c:numRef>
          </c:val>
          <c:smooth val="0"/>
          <c:extLst>
            <c:ext xmlns:c16="http://schemas.microsoft.com/office/drawing/2014/chart" uri="{C3380CC4-5D6E-409C-BE32-E72D297353CC}">
              <c16:uniqueId val="{00000002-AD4C-4889-AFEC-545623B4FED5}"/>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C$2:$C$10</c:f>
              <c:numCache>
                <c:formatCode>General</c:formatCode>
                <c:ptCount val="9"/>
                <c:pt idx="0">
                  <c:v>-126.99946567409893</c:v>
                </c:pt>
                <c:pt idx="2">
                  <c:v>-117.65521615550411</c:v>
                </c:pt>
                <c:pt idx="3">
                  <c:v>-114.98158961580064</c:v>
                </c:pt>
                <c:pt idx="4">
                  <c:v>-130.0960116385223</c:v>
                </c:pt>
                <c:pt idx="5">
                  <c:v>-111.25422471526647</c:v>
                </c:pt>
                <c:pt idx="7">
                  <c:v>-118.49676053127337</c:v>
                </c:pt>
                <c:pt idx="8">
                  <c:v>-147.07977578705629</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B$2:$B$10</c:f>
              <c:numCache>
                <c:formatCode>General</c:formatCode>
                <c:ptCount val="9"/>
                <c:pt idx="0">
                  <c:v>-126.99946567409893</c:v>
                </c:pt>
                <c:pt idx="2">
                  <c:v>-117.65521615550411</c:v>
                </c:pt>
                <c:pt idx="3">
                  <c:v>-114.98158961580064</c:v>
                </c:pt>
                <c:pt idx="4">
                  <c:v>-130.0960116385223</c:v>
                </c:pt>
                <c:pt idx="5">
                  <c:v>-111.25422471526647</c:v>
                </c:pt>
                <c:pt idx="7">
                  <c:v>-118.49676053127337</c:v>
                </c:pt>
                <c:pt idx="8">
                  <c:v>-147.07977578705629</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57731617334445195</c:v>
                </c:pt>
                <c:pt idx="2">
                  <c:v>-0.57731617334445195</c:v>
                </c:pt>
                <c:pt idx="3">
                  <c:v>-0.59552346082627949</c:v>
                </c:pt>
                <c:pt idx="4">
                  <c:v>-0.59552346082627949</c:v>
                </c:pt>
                <c:pt idx="6">
                  <c:v>-0.59552346082627949</c:v>
                </c:pt>
                <c:pt idx="7">
                  <c:v>-0.59186531662665287</c:v>
                </c:pt>
                <c:pt idx="8">
                  <c:v>-0.62071881178808597</c:v>
                </c:pt>
                <c:pt idx="9">
                  <c:v>-0.62071881178808597</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57589138603094614</c:v>
                </c:pt>
                <c:pt idx="5">
                  <c:v>-0.59552346082627949</c:v>
                </c:pt>
                <c:pt idx="10">
                  <c:v>-0.62071881178808597</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6">
                  <c:v>3.658144199626579E-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1.4247873135058528E-3</c:v>
                </c:pt>
                <c:pt idx="3">
                  <c:v>1.8207287481827501E-2</c:v>
                </c:pt>
                <c:pt idx="8">
                  <c:v>2.8853495161433054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57589138603094614</c:v>
                </c:pt>
                <c:pt idx="5">
                  <c:v>-0.59552346082627949</c:v>
                </c:pt>
                <c:pt idx="10">
                  <c:v>-0.62071881178808597</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Woonruimten * bodemfactor kern</c:v>
                </c:pt>
                <c:pt idx="2">
                  <c:v>Inwoners</c:v>
                </c:pt>
                <c:pt idx="3">
                  <c:v>Oeverlengte *dichtheid *bodemf. gem.</c:v>
                </c:pt>
                <c:pt idx="4">
                  <c:v>Omgevingsadressendichtheid</c:v>
                </c:pt>
                <c:pt idx="5">
                  <c:v>Oeverlengte * bodemfactor gemeente</c:v>
                </c:pt>
                <c:pt idx="6">
                  <c:v>Land</c:v>
                </c:pt>
                <c:pt idx="7">
                  <c:v>Land * bodemfactor gemeente</c:v>
                </c:pt>
                <c:pt idx="10">
                  <c:v>Overig</c:v>
                </c:pt>
              </c:strCache>
            </c:strRef>
          </c:cat>
          <c:val>
            <c:numRef>
              <c:f>Sheet1!$B$2:$B$12</c:f>
              <c:numCache>
                <c:formatCode>General</c:formatCode>
                <c:ptCount val="11"/>
                <c:pt idx="0">
                  <c:v>-1.1842871211599999</c:v>
                </c:pt>
                <c:pt idx="1">
                  <c:v>0.4948645567008001</c:v>
                </c:pt>
                <c:pt idx="2">
                  <c:v>-0.22067025864000001</c:v>
                </c:pt>
                <c:pt idx="3">
                  <c:v>0.19281723508039406</c:v>
                </c:pt>
                <c:pt idx="4">
                  <c:v>9.0212639808720005E-2</c:v>
                </c:pt>
                <c:pt idx="5">
                  <c:v>8.2872065639999996E-3</c:v>
                </c:pt>
                <c:pt idx="6">
                  <c:v>-6.1425421200000012E-3</c:v>
                </c:pt>
                <c:pt idx="7">
                  <c:v>4.1994719780000002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9492554551431998</c:v>
                </c:pt>
                <c:pt idx="1">
                  <c:v>2.0430157200755596</c:v>
                </c:pt>
                <c:pt idx="2">
                  <c:v>2.117858621284639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9492554551431998</c:v>
                </c:pt>
                <c:pt idx="1">
                  <c:v>2.0430157200755596</c:v>
                </c:pt>
                <c:pt idx="2">
                  <c:v>2.117858621284639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7.907891892214224</c:v>
                </c:pt>
                <c:pt idx="1">
                  <c:v>81.635727646270269</c:v>
                </c:pt>
                <c:pt idx="2">
                  <c:v>84.6263334645824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77.907891892214224</c:v>
                </c:pt>
                <c:pt idx="1">
                  <c:v>81.635727646270269</c:v>
                </c:pt>
                <c:pt idx="2">
                  <c:v>84.6263334645824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C$2:$C$10</c:f>
              <c:numCache>
                <c:formatCode>General</c:formatCode>
                <c:ptCount val="9"/>
                <c:pt idx="0">
                  <c:v>84.62633346458243</c:v>
                </c:pt>
                <c:pt idx="2">
                  <c:v>83.715548853050223</c:v>
                </c:pt>
                <c:pt idx="3">
                  <c:v>76.875465546380369</c:v>
                </c:pt>
                <c:pt idx="4">
                  <c:v>88.052910327916251</c:v>
                </c:pt>
                <c:pt idx="5">
                  <c:v>104.40535885363705</c:v>
                </c:pt>
                <c:pt idx="7">
                  <c:v>88.262320895245978</c:v>
                </c:pt>
                <c:pt idx="8">
                  <c:v>101.72533937438135</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445501526631822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B$2:$B$10</c:f>
              <c:numCache>
                <c:formatCode>General</c:formatCode>
                <c:ptCount val="9"/>
                <c:pt idx="0">
                  <c:v>84.62633346458243</c:v>
                </c:pt>
                <c:pt idx="2">
                  <c:v>83.715548853050223</c:v>
                </c:pt>
                <c:pt idx="3">
                  <c:v>76.875465546380369</c:v>
                </c:pt>
                <c:pt idx="4">
                  <c:v>88.052910327916251</c:v>
                </c:pt>
                <c:pt idx="5">
                  <c:v>104.40535885363705</c:v>
                </c:pt>
                <c:pt idx="7">
                  <c:v>88.262320895245978</c:v>
                </c:pt>
                <c:pt idx="8">
                  <c:v>102.17084090101316</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9492554551431998</c:v>
                </c:pt>
                <c:pt idx="2">
                  <c:v>1.9808750605804872</c:v>
                </c:pt>
                <c:pt idx="3">
                  <c:v>1.9808750605804872</c:v>
                </c:pt>
                <c:pt idx="4">
                  <c:v>2.0430157200755596</c:v>
                </c:pt>
                <c:pt idx="6">
                  <c:v>2.0196834352962969</c:v>
                </c:pt>
                <c:pt idx="7">
                  <c:v>2.0196834352962969</c:v>
                </c:pt>
                <c:pt idx="8">
                  <c:v>2.0196834352962969</c:v>
                </c:pt>
                <c:pt idx="9">
                  <c:v>2.1178586212846398</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9492554551431998</c:v>
                </c:pt>
                <c:pt idx="5">
                  <c:v>2.0430157200755596</c:v>
                </c:pt>
                <c:pt idx="10">
                  <c:v>2.1178586212846393</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3.1619605437287431E-2</c:v>
                </c:pt>
                <c:pt idx="3">
                  <c:v>6.214065949507247E-2</c:v>
                </c:pt>
                <c:pt idx="8">
                  <c:v>9.8175185988342628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6">
                  <c:v>2.3332284779262531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9492554551431998</c:v>
                </c:pt>
                <c:pt idx="5">
                  <c:v>2.0430157200755596</c:v>
                </c:pt>
                <c:pt idx="10">
                  <c:v>2.1178586212846393</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Omgevingsadressendichtheid</c:v>
                </c:pt>
                <c:pt idx="2">
                  <c:v>Woz waarde niet woningen (in mln)</c:v>
                </c:pt>
                <c:pt idx="3">
                  <c:v>Minderheden</c:v>
                </c:pt>
                <c:pt idx="4">
                  <c:v>Kernen met minstens 500 adressen</c:v>
                </c:pt>
                <c:pt idx="5">
                  <c:v>Huishoudens laag inkomen (drempel)</c:v>
                </c:pt>
                <c:pt idx="6">
                  <c:v>Klantenpotentieel regionaal</c:v>
                </c:pt>
                <c:pt idx="7">
                  <c:v>Klantenpotentieel lokaal</c:v>
                </c:pt>
                <c:pt idx="8">
                  <c:v>Opp. bebouwing totaal</c:v>
                </c:pt>
                <c:pt idx="9">
                  <c:v>Bedrijfsvestigingen</c:v>
                </c:pt>
                <c:pt idx="10">
                  <c:v>Overig</c:v>
                </c:pt>
              </c:strCache>
            </c:strRef>
          </c:cat>
          <c:val>
            <c:numRef>
              <c:f>Sheet1!$B$2:$B$12</c:f>
              <c:numCache>
                <c:formatCode>General</c:formatCode>
                <c:ptCount val="11"/>
                <c:pt idx="0">
                  <c:v>1.08904659864</c:v>
                </c:pt>
                <c:pt idx="1">
                  <c:v>0.39550177187664004</c:v>
                </c:pt>
                <c:pt idx="2">
                  <c:v>0.24695656876800004</c:v>
                </c:pt>
                <c:pt idx="3">
                  <c:v>0.12536185480000001</c:v>
                </c:pt>
                <c:pt idx="4">
                  <c:v>8.9495660800000015E-2</c:v>
                </c:pt>
                <c:pt idx="5">
                  <c:v>4.7996026520000006E-2</c:v>
                </c:pt>
                <c:pt idx="6">
                  <c:v>2.9983200000000002E-2</c:v>
                </c:pt>
                <c:pt idx="7">
                  <c:v>2.6493381200000003E-2</c:v>
                </c:pt>
                <c:pt idx="8">
                  <c:v>2.437808256E-2</c:v>
                </c:pt>
                <c:pt idx="9">
                  <c:v>2.1620305200000002E-2</c:v>
                </c:pt>
                <c:pt idx="10">
                  <c:v>2.102517091999978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Veiligheidshuiz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7347667755914999</c:v>
                </c:pt>
                <c:pt idx="1">
                  <c:v>2.8408388980594497</c:v>
                </c:pt>
                <c:pt idx="2">
                  <c:v>2.977046528125800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7347667755914999</c:v>
                </c:pt>
                <c:pt idx="1">
                  <c:v>2.8408388980594497</c:v>
                </c:pt>
                <c:pt idx="2">
                  <c:v>2.977046528125800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09.30322844090728</c:v>
                </c:pt>
                <c:pt idx="1">
                  <c:v>113.51549980258329</c:v>
                </c:pt>
                <c:pt idx="2">
                  <c:v>118.9581446545912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09.30322844090728</c:v>
                </c:pt>
                <c:pt idx="1">
                  <c:v>113.51549980258329</c:v>
                </c:pt>
                <c:pt idx="2">
                  <c:v>118.9581446545912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3.3907144571130994</c:v>
                </c:pt>
                <c:pt idx="2">
                  <c:v>-3.3907144571130994</c:v>
                </c:pt>
                <c:pt idx="3">
                  <c:v>-3.4008254300599998</c:v>
                </c:pt>
                <c:pt idx="4">
                  <c:v>-3.4008254300599998</c:v>
                </c:pt>
                <c:pt idx="6">
                  <c:v>-3.4008254300599998</c:v>
                </c:pt>
                <c:pt idx="7">
                  <c:v>-3.3865835446828187</c:v>
                </c:pt>
                <c:pt idx="8">
                  <c:v>-3.1782886279599998</c:v>
                </c:pt>
                <c:pt idx="9">
                  <c:v>-3.1782886279599998</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3319139421999999</c:v>
                </c:pt>
                <c:pt idx="5">
                  <c:v>-3.4008254300599998</c:v>
                </c:pt>
                <c:pt idx="10">
                  <c:v>-3.1782886279599998</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3.3239607702607567E-2</c:v>
                </c:pt>
                <c:pt idx="6">
                  <c:v>1.4241885377180932E-2</c:v>
                </c:pt>
                <c:pt idx="7">
                  <c:v>0.6875014219815084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5.8800514913099622E-2</c:v>
                </c:pt>
                <c:pt idx="3">
                  <c:v>4.3350580649507836E-2</c:v>
                </c:pt>
                <c:pt idx="8">
                  <c:v>0.47920650525868935</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3.3319139421999999</c:v>
                </c:pt>
                <c:pt idx="5">
                  <c:v>-3.4008254300599998</c:v>
                </c:pt>
                <c:pt idx="10">
                  <c:v>-3.1782886279599998</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C$2:$C$10</c:f>
              <c:numCache>
                <c:formatCode>General</c:formatCode>
                <c:ptCount val="9"/>
                <c:pt idx="0">
                  <c:v>118.95814465459124</c:v>
                </c:pt>
                <c:pt idx="2">
                  <c:v>117.50510793846892</c:v>
                </c:pt>
                <c:pt idx="3">
                  <c:v>116.46097329249631</c:v>
                </c:pt>
                <c:pt idx="4">
                  <c:v>116.91142889140427</c:v>
                </c:pt>
                <c:pt idx="5">
                  <c:v>121.2729854159292</c:v>
                </c:pt>
                <c:pt idx="7">
                  <c:v>118.03762388457469</c:v>
                </c:pt>
                <c:pt idx="8">
                  <c:v>110.68390286453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D$2:$D$10</c:f>
              <c:numCache>
                <c:formatCode>General</c:formatCode>
                <c:ptCount val="9"/>
                <c:pt idx="0">
                  <c:v>0</c:v>
                </c:pt>
                <c:pt idx="2">
                  <c:v>0</c:v>
                </c:pt>
                <c:pt idx="3">
                  <c:v>0</c:v>
                </c:pt>
                <c:pt idx="4">
                  <c:v>0</c:v>
                </c:pt>
                <c:pt idx="5">
                  <c:v>108.42485812929084</c:v>
                </c:pt>
                <c:pt idx="7">
                  <c:v>27.10621453232271</c:v>
                </c:pt>
                <c:pt idx="8">
                  <c:v>0.8386680532986521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liedrecht</c:v>
                </c:pt>
                <c:pt idx="2">
                  <c:v>Steenbergen</c:v>
                </c:pt>
                <c:pt idx="3">
                  <c:v>Stein</c:v>
                </c:pt>
                <c:pt idx="4">
                  <c:v>Cuijk</c:v>
                </c:pt>
                <c:pt idx="5">
                  <c:v>Westerwolde</c:v>
                </c:pt>
                <c:pt idx="7">
                  <c:v>4 gemeenten</c:v>
                </c:pt>
                <c:pt idx="8">
                  <c:v>Landelijk</c:v>
                </c:pt>
              </c:strCache>
            </c:strRef>
          </c:cat>
          <c:val>
            <c:numRef>
              <c:f>Sheet1!$B$2:$B$10</c:f>
              <c:numCache>
                <c:formatCode>General</c:formatCode>
                <c:ptCount val="9"/>
                <c:pt idx="0">
                  <c:v>118.95814465459124</c:v>
                </c:pt>
                <c:pt idx="2">
                  <c:v>117.50510793846892</c:v>
                </c:pt>
                <c:pt idx="3">
                  <c:v>116.46097329249631</c:v>
                </c:pt>
                <c:pt idx="4">
                  <c:v>116.91142889140427</c:v>
                </c:pt>
                <c:pt idx="5">
                  <c:v>229.69784354522005</c:v>
                </c:pt>
                <c:pt idx="7">
                  <c:v>145.14383841689738</c:v>
                </c:pt>
                <c:pt idx="8">
                  <c:v>111.52257091783065</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7347667755914999</c:v>
                </c:pt>
                <c:pt idx="2">
                  <c:v>2.7432033899643202</c:v>
                </c:pt>
                <c:pt idx="3">
                  <c:v>2.7540768882605948</c:v>
                </c:pt>
                <c:pt idx="4">
                  <c:v>2.8408388980594497</c:v>
                </c:pt>
                <c:pt idx="6">
                  <c:v>2.8396911944468193</c:v>
                </c:pt>
                <c:pt idx="7">
                  <c:v>2.8385381967012493</c:v>
                </c:pt>
                <c:pt idx="8">
                  <c:v>2.8385381967012493</c:v>
                </c:pt>
                <c:pt idx="9">
                  <c:v>2.9770465281258005</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7347667755914999</c:v>
                </c:pt>
                <c:pt idx="5">
                  <c:v>2.8408388980594497</c:v>
                </c:pt>
                <c:pt idx="10">
                  <c:v>2.9770465281258001</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8.4366143728203166E-3</c:v>
                </c:pt>
                <c:pt idx="2">
                  <c:v>1.087349829627449E-2</c:v>
                </c:pt>
                <c:pt idx="3">
                  <c:v>8.6762009798854914E-2</c:v>
                </c:pt>
                <c:pt idx="8">
                  <c:v>0.1385083314245510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6">
                  <c:v>1.1477036126305341E-3</c:v>
                </c:pt>
                <c:pt idx="7">
                  <c:v>1.152997745570072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7347667755914999</c:v>
                </c:pt>
                <c:pt idx="5">
                  <c:v>2.8408388980594497</c:v>
                </c:pt>
                <c:pt idx="10">
                  <c:v>2.9770465281258001</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Woonruimten</c:v>
                </c:pt>
                <c:pt idx="2">
                  <c:v>Vast bedrag voor iedere gemeente</c:v>
                </c:pt>
                <c:pt idx="3">
                  <c:v>Omgevingsadressendichtheid</c:v>
                </c:pt>
                <c:pt idx="4">
                  <c:v>Bewoonde oorden 1930</c:v>
                </c:pt>
                <c:pt idx="5">
                  <c:v>Minderheden</c:v>
                </c:pt>
                <c:pt idx="6">
                  <c:v>Klantenpotentieel regionaal</c:v>
                </c:pt>
                <c:pt idx="7">
                  <c:v>Bedrijfsvestigingen</c:v>
                </c:pt>
                <c:pt idx="8">
                  <c:v>Land</c:v>
                </c:pt>
                <c:pt idx="9">
                  <c:v>Minderheden (drempel)</c:v>
                </c:pt>
                <c:pt idx="10">
                  <c:v>Overig</c:v>
                </c:pt>
              </c:strCache>
            </c:strRef>
          </c:cat>
          <c:val>
            <c:numRef>
              <c:f>Sheet1!$B$2:$B$12</c:f>
              <c:numCache>
                <c:formatCode>General</c:formatCode>
                <c:ptCount val="11"/>
                <c:pt idx="0">
                  <c:v>2.0586477693600003</c:v>
                </c:pt>
                <c:pt idx="1">
                  <c:v>0.61451487240000013</c:v>
                </c:pt>
                <c:pt idx="2">
                  <c:v>0.28248488112000003</c:v>
                </c:pt>
                <c:pt idx="3">
                  <c:v>-0.10305748587420001</c:v>
                </c:pt>
                <c:pt idx="4">
                  <c:v>9.1508726400000018E-2</c:v>
                </c:pt>
                <c:pt idx="5">
                  <c:v>4.5444214400000002E-2</c:v>
                </c:pt>
                <c:pt idx="6">
                  <c:v>-3.9277992000000005E-2</c:v>
                </c:pt>
                <c:pt idx="7">
                  <c:v>2.4692664359999998E-2</c:v>
                </c:pt>
                <c:pt idx="8">
                  <c:v>2.0888779599999999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Vergoeding raadsleden gemeent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OZB (woningen eigenaar)</c:v>
                </c:pt>
                <c:pt idx="1">
                  <c:v>OZB (niet-woningen eigenaar)</c:v>
                </c:pt>
                <c:pt idx="2">
                  <c:v>OZB (niet-woningen gebruiker)</c:v>
                </c:pt>
                <c:pt idx="3">
                  <c:v>Woonruimten</c:v>
                </c:pt>
                <c:pt idx="4">
                  <c:v>Vast bedrag voor iedere gemeente</c:v>
                </c:pt>
                <c:pt idx="10">
                  <c:v>Overig</c:v>
                </c:pt>
              </c:strCache>
            </c:strRef>
          </c:cat>
          <c:val>
            <c:numRef>
              <c:f>Sheet1!$B$2:$B$12</c:f>
              <c:numCache>
                <c:formatCode>General</c:formatCode>
                <c:ptCount val="11"/>
                <c:pt idx="0">
                  <c:v>-1.6071924</c:v>
                </c:pt>
                <c:pt idx="1">
                  <c:v>-0.57595406400000004</c:v>
                </c:pt>
                <c:pt idx="2">
                  <c:v>-0.55506684100000003</c:v>
                </c:pt>
                <c:pt idx="3">
                  <c:v>-0.49643890295999998</c:v>
                </c:pt>
                <c:pt idx="4">
                  <c:v>5.6363580000000003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6720922069851341</c:v>
                </c:pt>
                <c:pt idx="1">
                  <c:v>3.3369271114498411</c:v>
                </c:pt>
                <c:pt idx="2">
                  <c:v>3.402437493981761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106504</c:v>
                </c:pt>
                <c:pt idx="1">
                  <c:v>2.4930400000000001</c:v>
                </c:pt>
                <c:pt idx="2">
                  <c:v>2.5254780000000001</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7785962069851342</c:v>
                </c:pt>
                <c:pt idx="1">
                  <c:v>5.8299671114498413</c:v>
                </c:pt>
                <c:pt idx="2">
                  <c:v>5.927915493981761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0,0">
          <cx:pt idx="0">28.95394442498996</cx:pt>
          <cx:pt idx="1">-2.5418566591553602</cx:pt>
          <cx:pt idx="2">26.412087765834599</cx:pt>
          <cx:pt idx="3">5.839547649</cx:pt>
          <cx:pt idx="4">32.251635414834602</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General">
          <cx:pt idx="0">41.067451025558164</cx:pt>
          <cx:pt idx="1">-3.1782886279599998</cx:pt>
          <cx:pt idx="2">37.889162397598163</cx:pt>
          <cx:pt idx="3">3.7859079999999992</cx:pt>
          <cx:pt idx="4">41.675070397598162</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nl-NL"/>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CDFCA07-65A2-43A4-A49C-B8BD0C94B0F9}" type="datetimeFigureOut">
              <a:rPr lang="nl-NL" smtClean="0"/>
              <a:t>28-3-2021</a:t>
            </a:fld>
            <a:endParaRPr lang="nl-NL"/>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nl-NL"/>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nl-NL"/>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B3AE331-5B0B-4A3C-AD49-3CBEA74906CF}" type="slidenum">
              <a:rPr lang="nl-NL" smtClean="0"/>
              <a:t>‹#›</a:t>
            </a:fld>
            <a:endParaRPr lang="nl-NL"/>
          </a:p>
        </p:txBody>
      </p:sp>
    </p:spTree>
    <p:extLst>
      <p:ext uri="{BB962C8B-B14F-4D97-AF65-F5344CB8AC3E}">
        <p14:creationId xmlns:p14="http://schemas.microsoft.com/office/powerpoint/2010/main" val="3556067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B3AE331-5B0B-4A3C-AD49-3CBEA74906CF}" type="slidenum">
              <a:rPr lang="nl-NL" smtClean="0"/>
              <a:t>16</a:t>
            </a:fld>
            <a:endParaRPr lang="nl-NL"/>
          </a:p>
        </p:txBody>
      </p:sp>
    </p:spTree>
    <p:extLst>
      <p:ext uri="{BB962C8B-B14F-4D97-AF65-F5344CB8AC3E}">
        <p14:creationId xmlns:p14="http://schemas.microsoft.com/office/powerpoint/2010/main" val="22682431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p>
            <a:r>
              <a:rPr lang="en-US"/>
              <a:t>Click icon to add picture</a:t>
            </a:r>
            <a:endParaRPr lang="nl-NL"/>
          </a:p>
        </p:txBody>
      </p:sp>
    </p:spTree>
    <p:extLst>
      <p:ext uri="{BB962C8B-B14F-4D97-AF65-F5344CB8AC3E}">
        <p14:creationId xmlns:p14="http://schemas.microsoft.com/office/powerpoint/2010/main" val="33227313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569621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a:defRPr b="1">
                <a:solidFill>
                  <a:schemeClr val="bg1"/>
                </a:solidFill>
              </a:defRPr>
            </a:lvl1pPr>
          </a:lstStyle>
          <a:p>
            <a:pPr lvl="0"/>
            <a:r>
              <a:rPr lang="en-US"/>
              <a:t>Click to edit Master text styles</a:t>
            </a:r>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787624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9349958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501632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1634742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64655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8853988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551916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6346900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7960100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26517845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2900441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66045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23778503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9382194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436063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8923585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p>
            <a:r>
              <a:rPr lang="en-US"/>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30668453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p>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a:defRPr sz="4000" b="1" u="none"/>
            </a:lvl1pPr>
          </a:lstStyle>
          <a:p>
            <a:pPr lvl="0"/>
            <a:r>
              <a:rPr lang="en-US" dirty="0"/>
              <a:t>Edit Master text styles</a:t>
            </a:r>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a:defRPr sz="5400" b="1">
                <a:solidFill>
                  <a:schemeClr val="tx2"/>
                </a:solidFill>
              </a:defRPr>
            </a:lvl1pPr>
          </a:lstStyle>
          <a:p>
            <a:pPr lvl="0"/>
            <a:r>
              <a:rPr lang="en-US" dirty="0"/>
              <a:t>Edit Master text styles</a:t>
            </a:r>
          </a:p>
        </p:txBody>
      </p:sp>
    </p:spTree>
    <p:extLst>
      <p:ext uri="{BB962C8B-B14F-4D97-AF65-F5344CB8AC3E}">
        <p14:creationId xmlns:p14="http://schemas.microsoft.com/office/powerpoint/2010/main" val="30243595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p>
            <a:r>
              <a:rPr lang="en-US"/>
              <a:t>Click icon to add picture</a:t>
            </a:r>
            <a:endParaRPr lang="nl-NL"/>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070926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790939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636069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1704564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6659466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dirty="0" err="1">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a:lstStyle>
            <a:lvl1pPr algn="ctr">
              <a:defRPr sz="5400">
                <a:solidFill>
                  <a:schemeClr val="tx2"/>
                </a:solidFill>
              </a:defRPr>
            </a:lvl1pPr>
          </a:lstStyle>
          <a:p>
            <a:r>
              <a:rPr lang="en-US"/>
              <a:t>Click to edit Master title style</a:t>
            </a:r>
            <a:endParaRPr lang="en-CA"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768536127"/>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a:defRPr sz="2000" b="1">
                <a:solidFill>
                  <a:srgbClr val="000000"/>
                </a:solidFill>
              </a:defRPr>
            </a:lvl1pPr>
          </a:lstStyle>
          <a:p>
            <a:pPr lvl="0"/>
            <a:r>
              <a:rPr lang="en-US"/>
              <a:t>Click to edit Master text styles</a:t>
            </a:r>
          </a:p>
        </p:txBody>
      </p:sp>
    </p:spTree>
    <p:extLst>
      <p:ext uri="{BB962C8B-B14F-4D97-AF65-F5344CB8AC3E}">
        <p14:creationId xmlns:p14="http://schemas.microsoft.com/office/powerpoint/2010/main" val="13142130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a:defRPr sz="20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005600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p>
            <a:r>
              <a:rPr lang="en-US"/>
              <a:t>Click icon to add picture</a:t>
            </a:r>
            <a:endParaRPr lang="nl-NL"/>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p>
            <a:r>
              <a:rPr lang="en-US"/>
              <a:t>Click icon to add picture</a:t>
            </a:r>
            <a:endParaRPr lang="nl-NL"/>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p>
            <a:r>
              <a:rPr lang="en-US"/>
              <a:t>Click icon to add picture</a:t>
            </a:r>
            <a:endParaRPr lang="nl-NL"/>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951211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p>
            <a:r>
              <a:rPr lang="en-US"/>
              <a:t>Click icon to add picture</a:t>
            </a:r>
            <a:endParaRPr lang="nl-NL"/>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p>
            <a:r>
              <a:rPr lang="en-US"/>
              <a:t>Click icon to add picture</a:t>
            </a:r>
            <a:endParaRPr lang="nl-NL"/>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88787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1424744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41742610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p>
            <a:r>
              <a:rPr lang="en-US"/>
              <a:t>Click icon to add picture</a:t>
            </a:r>
            <a:endParaRPr lang="nl-NL"/>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p>
            <a:r>
              <a:rPr lang="en-US"/>
              <a:t>Click icon to add picture</a:t>
            </a:r>
            <a:endParaRPr lang="nl-NL"/>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p>
            <a:r>
              <a:rPr lang="en-US"/>
              <a:t>Click icon to add picture</a:t>
            </a:r>
            <a:endParaRPr lang="nl-NL"/>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866457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p>
            <a:r>
              <a:rPr lang="en-US"/>
              <a:t>Click icon to add picture</a:t>
            </a:r>
            <a:endParaRPr lang="nl-NL"/>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p>
            <a:r>
              <a:rPr lang="en-US"/>
              <a:t>Click icon to add picture</a:t>
            </a:r>
            <a:endParaRPr lang="nl-NL"/>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p>
            <a:r>
              <a:rPr lang="en-US"/>
              <a:t>Click icon to add picture</a:t>
            </a:r>
            <a:endParaRPr lang="nl-NL"/>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5939404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1127803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005311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p>
            <a:r>
              <a:rPr lang="en-US"/>
              <a:t>Click icon to add picture</a:t>
            </a:r>
            <a:endParaRPr lang="nl-NL"/>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p>
            <a:r>
              <a:rPr lang="en-US"/>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p>
            <a:r>
              <a:rPr lang="en-US"/>
              <a:t>Click icon to add picture</a:t>
            </a:r>
            <a:endParaRPr lang="nl-NL"/>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p>
            <a:r>
              <a:rPr lang="en-US"/>
              <a:t>Click icon to add picture</a:t>
            </a:r>
            <a:endParaRPr lang="nl-NL"/>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p>
            <a:r>
              <a:rPr lang="en-US"/>
              <a:t>Click icon to add picture</a:t>
            </a:r>
            <a:endParaRPr lang="nl-NL"/>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p>
            <a:r>
              <a:rPr lang="en-US"/>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5144903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1"/>
            </p:custDataLst>
            <p:extLst>
              <p:ext uri="{D42A27DB-BD31-4B8C-83A1-F6EECF244321}">
                <p14:modId xmlns:p14="http://schemas.microsoft.com/office/powerpoint/2010/main" val="113412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831253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79512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64444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18308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27852186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32020210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4" imgW="470" imgH="469" progId="TCLayout.ActiveDocument.1">
                  <p:embed/>
                </p:oleObj>
              </mc:Choice>
              <mc:Fallback>
                <p:oleObj name="think-cell Slide" r:id="rId44" imgW="470" imgH="469" progId="TCLayout.ActiveDocument.1">
                  <p:embed/>
                  <p:pic>
                    <p:nvPicPr>
                      <p:cNvPr id="4" name="Object 3" hidden="1"/>
                      <p:cNvPicPr/>
                      <p:nvPr/>
                    </p:nvPicPr>
                    <p:blipFill>
                      <a:blip r:embed="rId45"/>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en-US" noProof="0" dirty="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a:defRPr sz="1000">
                <a:latin typeface="+mj-lt"/>
              </a:defRPr>
            </a:lvl1pPr>
          </a:lstStyle>
          <a:p>
            <a:fld id="{DACF5B80-9BA5-46BF-AFF0-42D157F37955}" type="slidenum">
              <a:rPr lang="nl-NL" smtClean="0"/>
              <a:t>‹#›</a:t>
            </a:fld>
            <a:endParaRPr lang="nl-NL"/>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Tree>
    <p:extLst>
      <p:ext uri="{BB962C8B-B14F-4D97-AF65-F5344CB8AC3E}">
        <p14:creationId xmlns:p14="http://schemas.microsoft.com/office/powerpoint/2010/main" val="8992709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06" r:id="rId3"/>
    <p:sldLayoutId id="2147483707" r:id="rId4"/>
    <p:sldLayoutId id="2147483705"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 id="2147483675" r:id="rId18"/>
    <p:sldLayoutId id="2147483676" r:id="rId19"/>
    <p:sldLayoutId id="2147483677" r:id="rId20"/>
    <p:sldLayoutId id="2147483678" r:id="rId21"/>
    <p:sldLayoutId id="2147483679" r:id="rId22"/>
    <p:sldLayoutId id="2147483699" r:id="rId23"/>
    <p:sldLayoutId id="2147483703" r:id="rId24"/>
    <p:sldLayoutId id="2147483704" r:id="rId25"/>
    <p:sldLayoutId id="2147483680" r:id="rId26"/>
    <p:sldLayoutId id="2147483681" r:id="rId27"/>
    <p:sldLayoutId id="2147483682" r:id="rId28"/>
    <p:sldLayoutId id="2147483683" r:id="rId29"/>
    <p:sldLayoutId id="2147483684" r:id="rId30"/>
    <p:sldLayoutId id="2147483685" r:id="rId31"/>
    <p:sldLayoutId id="2147483686" r:id="rId32"/>
    <p:sldLayoutId id="2147483687" r:id="rId33"/>
    <p:sldLayoutId id="2147483688" r:id="rId34"/>
    <p:sldLayoutId id="2147483689" r:id="rId35"/>
    <p:sldLayoutId id="2147483690" r:id="rId36"/>
    <p:sldLayoutId id="2147483691" r:id="rId37"/>
    <p:sldLayoutId id="2147483692" r:id="rId38"/>
    <p:sldLayoutId id="2147483693" r:id="rId39"/>
    <p:sldLayoutId id="2147483694"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microsoft.com/office/2007/relationships/hdphoto" Target="../media/hdphoto1.wdp"/><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14.bin"/><Relationship Id="rId9" Type="http://schemas.openxmlformats.org/officeDocument/2006/relationships/slide" Target="slide1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1.png"/><Relationship Id="rId2" Type="http://schemas.openxmlformats.org/officeDocument/2006/relationships/tags" Target="../tags/tag31.xml"/><Relationship Id="rId1" Type="http://schemas.openxmlformats.org/officeDocument/2006/relationships/tags" Target="../tags/tag30.xml"/><Relationship Id="rId6" Type="http://schemas.microsoft.com/office/2014/relationships/chartEx" Target="../charts/chartEx2.xml"/><Relationship Id="rId5" Type="http://schemas.openxmlformats.org/officeDocument/2006/relationships/image" Target="../media/image3.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13.xml"/><Relationship Id="rId7" Type="http://schemas.openxmlformats.org/officeDocument/2006/relationships/chart" Target="../charts/chart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chart" Target="../charts/chart1.xml"/><Relationship Id="rId5" Type="http://schemas.openxmlformats.org/officeDocument/2006/relationships/image" Target="../media/image3.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3.emf"/><Relationship Id="rId4" Type="http://schemas.openxmlformats.org/officeDocument/2006/relationships/oleObject" Target="../embeddings/oleObject17.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3.emf"/><Relationship Id="rId4" Type="http://schemas.openxmlformats.org/officeDocument/2006/relationships/oleObject" Target="../embeddings/oleObject18.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3.emf"/><Relationship Id="rId4" Type="http://schemas.openxmlformats.org/officeDocument/2006/relationships/oleObject" Target="../embeddings/oleObject19.bin"/></Relationships>
</file>

<file path=ppt/slides/_rels/slide16.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5.png"/><Relationship Id="rId2" Type="http://schemas.openxmlformats.org/officeDocument/2006/relationships/tags" Target="../tags/tag41.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oleObject" Target="../embeddings/oleObject20.bin"/><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image" Target="../media/image10.svg"/><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notesSlide" Target="../notesSlides/notesSlide1.xml"/><Relationship Id="rId9" Type="http://schemas.openxmlformats.org/officeDocument/2006/relationships/image" Target="../media/image7.pn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6.svg"/><Relationship Id="rId51" Type="http://schemas.openxmlformats.org/officeDocument/2006/relationships/slide" Target="slide2.xml"/><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0.xml"/><Relationship Id="rId6" Type="http://schemas.openxmlformats.org/officeDocument/2006/relationships/image" Target="../media/image3.emf"/></Relationships>
</file>

<file path=ppt/slides/_rels/slide1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2.xml"/><Relationship Id="rId6" Type="http://schemas.openxmlformats.org/officeDocument/2006/relationships/image" Target="../media/image5.png"/></Relationships>
</file>

<file path=ppt/slides/_rels/slide1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0.xml"/><Relationship Id="rId7" Type="http://schemas.openxmlformats.org/officeDocument/2006/relationships/image" Target="../media/image41.sv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40.png"/><Relationship Id="rId11" Type="http://schemas.openxmlformats.org/officeDocument/2006/relationships/chart" Target="../charts/chart5.xml"/><Relationship Id="rId5" Type="http://schemas.openxmlformats.org/officeDocument/2006/relationships/image" Target="../media/image3.emf"/><Relationship Id="rId10" Type="http://schemas.openxmlformats.org/officeDocument/2006/relationships/chart" Target="../charts/chart4.xml"/><Relationship Id="rId4" Type="http://schemas.openxmlformats.org/officeDocument/2006/relationships/oleObject" Target="../embeddings/oleObject22.bin"/><Relationship Id="rId9" Type="http://schemas.openxmlformats.org/officeDocument/2006/relationships/image" Target="../media/image42.svg"/></Relationships>
</file>

<file path=ppt/slides/_rels/slide19.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chart" Target="../charts/chart6.xml"/><Relationship Id="rId5" Type="http://schemas.openxmlformats.org/officeDocument/2006/relationships/image" Target="../media/image3.emf"/><Relationship Id="rId4" Type="http://schemas.openxmlformats.org/officeDocument/2006/relationships/oleObject" Target="../embeddings/oleObject23.bin"/></Relationships>
</file>

<file path=ppt/slides/_rels/slide2.xml.rels><?xml version="1.0" encoding="UTF-8" standalone="yes"?>
<Relationships xmlns="http://schemas.openxmlformats.org/package/2006/relationships"><Relationship Id="rId8" Type="http://schemas.openxmlformats.org/officeDocument/2006/relationships/slide" Target="slide77.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slide" Target="slide16.xml"/><Relationship Id="rId12" Type="http://schemas.openxmlformats.org/officeDocument/2006/relationships/image" Target="../media/image8.sv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 Target="slide10.xml"/><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image" Target="../media/image6.svg"/><Relationship Id="rId4" Type="http://schemas.openxmlformats.org/officeDocument/2006/relationships/oleObject" Target="../embeddings/oleObject6.bin"/><Relationship Id="rId9" Type="http://schemas.openxmlformats.org/officeDocument/2006/relationships/image" Target="../media/image5.png"/></Relationships>
</file>

<file path=ppt/slides/_rels/slide20.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chart" Target="../charts/chart7.xml"/><Relationship Id="rId5" Type="http://schemas.openxmlformats.org/officeDocument/2006/relationships/image" Target="../media/image3.emf"/><Relationship Id="rId4" Type="http://schemas.openxmlformats.org/officeDocument/2006/relationships/oleObject" Target="../embeddings/oleObject24.bin"/></Relationships>
</file>

<file path=ppt/slides/_rels/slide21.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chart" Target="../charts/chart8.xml"/><Relationship Id="rId5" Type="http://schemas.openxmlformats.org/officeDocument/2006/relationships/image" Target="../media/image3.emf"/><Relationship Id="rId4" Type="http://schemas.openxmlformats.org/officeDocument/2006/relationships/oleObject" Target="../embeddings/oleObject25.bin"/></Relationships>
</file>

<file path=ppt/slides/_rels/slide2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52.xml"/><Relationship Id="rId6" Type="http://schemas.openxmlformats.org/officeDocument/2006/relationships/image" Target="../media/image5.png"/></Relationships>
</file>

<file path=ppt/slides/_rels/slide23.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4.png"/><Relationship Id="rId11" Type="http://schemas.openxmlformats.org/officeDocument/2006/relationships/image" Target="../media/image44.svg"/><Relationship Id="rId5" Type="http://schemas.openxmlformats.org/officeDocument/2006/relationships/image" Target="../media/image3.emf"/><Relationship Id="rId10" Type="http://schemas.openxmlformats.org/officeDocument/2006/relationships/image" Target="../media/image43.png"/><Relationship Id="rId4" Type="http://schemas.openxmlformats.org/officeDocument/2006/relationships/oleObject" Target="../embeddings/oleObject27.bin"/><Relationship Id="rId9" Type="http://schemas.openxmlformats.org/officeDocument/2006/relationships/chart" Target="../charts/chart10.xml"/></Relationships>
</file>

<file path=ppt/slides/_rels/slide24.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2.xml"/><Relationship Id="rId7" Type="http://schemas.openxmlformats.org/officeDocument/2006/relationships/image" Target="../media/image43.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chart" Target="../charts/chart11.xml"/><Relationship Id="rId5" Type="http://schemas.openxmlformats.org/officeDocument/2006/relationships/image" Target="../media/image3.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8.xml"/><Relationship Id="rId7" Type="http://schemas.openxmlformats.org/officeDocument/2006/relationships/image" Target="../media/image43.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chart" Target="../charts/chart12.xml"/><Relationship Id="rId5" Type="http://schemas.openxmlformats.org/officeDocument/2006/relationships/image" Target="../media/image3.emf"/><Relationship Id="rId4" Type="http://schemas.openxmlformats.org/officeDocument/2006/relationships/oleObject" Target="../embeddings/oleObject29.bin"/></Relationships>
</file>

<file path=ppt/slides/_rels/slide2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8.xml"/><Relationship Id="rId7" Type="http://schemas.openxmlformats.org/officeDocument/2006/relationships/chart" Target="../charts/chart14.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chart" Target="../charts/chart13.xml"/><Relationship Id="rId5" Type="http://schemas.openxmlformats.org/officeDocument/2006/relationships/image" Target="../media/image3.emf"/><Relationship Id="rId4" Type="http://schemas.openxmlformats.org/officeDocument/2006/relationships/oleObject" Target="../embeddings/oleObject30.bin"/><Relationship Id="rId9" Type="http://schemas.openxmlformats.org/officeDocument/2006/relationships/image" Target="../media/image44.svg"/></Relationships>
</file>

<file path=ppt/slides/_rels/slide2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6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62.xml"/><Relationship Id="rId6" Type="http://schemas.openxmlformats.org/officeDocument/2006/relationships/image" Target="../media/image5.png"/></Relationships>
</file>

<file path=ppt/slides/_rels/slide28.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4.png"/><Relationship Id="rId11" Type="http://schemas.openxmlformats.org/officeDocument/2006/relationships/image" Target="../media/image46.svg"/><Relationship Id="rId5" Type="http://schemas.openxmlformats.org/officeDocument/2006/relationships/image" Target="../media/image3.emf"/><Relationship Id="rId10" Type="http://schemas.openxmlformats.org/officeDocument/2006/relationships/image" Target="../media/image45.png"/><Relationship Id="rId4" Type="http://schemas.openxmlformats.org/officeDocument/2006/relationships/oleObject" Target="../embeddings/oleObject32.bin"/><Relationship Id="rId9" Type="http://schemas.openxmlformats.org/officeDocument/2006/relationships/chart" Target="../charts/chart16.xml"/></Relationships>
</file>

<file path=ppt/slides/_rels/slide29.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2.xml"/><Relationship Id="rId7" Type="http://schemas.openxmlformats.org/officeDocument/2006/relationships/image" Target="../media/image45.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chart" Target="../charts/chart17.xml"/><Relationship Id="rId5" Type="http://schemas.openxmlformats.org/officeDocument/2006/relationships/image" Target="../media/image3.emf"/><Relationship Id="rId4" Type="http://schemas.openxmlformats.org/officeDocument/2006/relationships/oleObject" Target="../embeddings/oleObject33.bin"/></Relationships>
</file>

<file path=ppt/slides/_rels/slide3.xml.rels><?xml version="1.0" encoding="UTF-8" standalone="yes"?>
<Relationships xmlns="http://schemas.openxmlformats.org/package/2006/relationships"><Relationship Id="rId8" Type="http://schemas.openxmlformats.org/officeDocument/2006/relationships/hyperlink" Target="https://kennisopenbaarbestuur.nl/thema/gemeentefonds/" TargetMode="External"/><Relationship Id="rId3" Type="http://schemas.openxmlformats.org/officeDocument/2006/relationships/slideLayout" Target="../slideLayouts/slideLayout3.xml"/><Relationship Id="rId7" Type="http://schemas.openxmlformats.org/officeDocument/2006/relationships/image" Target="../media/image9.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hyperlink" Target="https://youtu.be/Rrb0MrBUALw" TargetMode="External"/><Relationship Id="rId5" Type="http://schemas.openxmlformats.org/officeDocument/2006/relationships/image" Target="../media/image3.emf"/><Relationship Id="rId10" Type="http://schemas.openxmlformats.org/officeDocument/2006/relationships/hyperlink" Target="https://www.rijksoverheid.nl/onderwerpen/financien-gemeenten-en-provincies/documenten/rapporten/2011/07/28/verdeling-van-de-uitkeringen-uit-het-gemeentefonds" TargetMode="External"/><Relationship Id="rId4" Type="http://schemas.openxmlformats.org/officeDocument/2006/relationships/oleObject" Target="../embeddings/oleObject7.bin"/><Relationship Id="rId9" Type="http://schemas.openxmlformats.org/officeDocument/2006/relationships/hyperlink" Target="https://www.rijksoverheid.nl/onderwerpen/financien-gemeenten-en-provincies/documenten/rapporten/2013/05/24/toelichting-op-de-berekening-van-de-uitkeringen-uit-het-gemeentefonds"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8.xml"/><Relationship Id="rId7" Type="http://schemas.openxmlformats.org/officeDocument/2006/relationships/image" Target="../media/image45.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chart" Target="../charts/chart18.xml"/><Relationship Id="rId5" Type="http://schemas.openxmlformats.org/officeDocument/2006/relationships/image" Target="../media/image3.emf"/><Relationship Id="rId4" Type="http://schemas.openxmlformats.org/officeDocument/2006/relationships/oleObject" Target="../embeddings/oleObject34.bin"/></Relationships>
</file>

<file path=ppt/slides/_rels/slide3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8.xml"/><Relationship Id="rId7" Type="http://schemas.openxmlformats.org/officeDocument/2006/relationships/chart" Target="../charts/chart20.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chart" Target="../charts/chart19.xml"/><Relationship Id="rId5" Type="http://schemas.openxmlformats.org/officeDocument/2006/relationships/image" Target="../media/image3.emf"/><Relationship Id="rId4" Type="http://schemas.openxmlformats.org/officeDocument/2006/relationships/oleObject" Target="../embeddings/oleObject35.bin"/><Relationship Id="rId9" Type="http://schemas.openxmlformats.org/officeDocument/2006/relationships/image" Target="../media/image46.svg"/></Relationships>
</file>

<file path=ppt/slides/_rels/slide3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7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72.xml"/><Relationship Id="rId6" Type="http://schemas.openxmlformats.org/officeDocument/2006/relationships/image" Target="../media/image5.png"/></Relationships>
</file>

<file path=ppt/slides/_rels/slide33.xml.rels><?xml version="1.0" encoding="UTF-8" standalone="yes"?>
<Relationships xmlns="http://schemas.openxmlformats.org/package/2006/relationships"><Relationship Id="rId8" Type="http://schemas.openxmlformats.org/officeDocument/2006/relationships/chart" Target="../charts/chart21.xml"/><Relationship Id="rId13" Type="http://schemas.openxmlformats.org/officeDocument/2006/relationships/chart" Target="../charts/chart22.xml"/><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50.sv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4.png"/><Relationship Id="rId11" Type="http://schemas.openxmlformats.org/officeDocument/2006/relationships/image" Target="../media/image49.png"/><Relationship Id="rId5" Type="http://schemas.openxmlformats.org/officeDocument/2006/relationships/image" Target="../media/image3.emf"/><Relationship Id="rId10" Type="http://schemas.openxmlformats.org/officeDocument/2006/relationships/image" Target="../media/image48.svg"/><Relationship Id="rId4" Type="http://schemas.openxmlformats.org/officeDocument/2006/relationships/oleObject" Target="../embeddings/oleObject37.bin"/><Relationship Id="rId9" Type="http://schemas.openxmlformats.org/officeDocument/2006/relationships/image" Target="../media/image47.png"/></Relationships>
</file>

<file path=ppt/slides/_rels/slide3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2.xml"/><Relationship Id="rId7" Type="http://schemas.openxmlformats.org/officeDocument/2006/relationships/image" Target="../media/image48.sv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47.png"/><Relationship Id="rId5" Type="http://schemas.openxmlformats.org/officeDocument/2006/relationships/image" Target="../media/image3.emf"/><Relationship Id="rId10" Type="http://schemas.openxmlformats.org/officeDocument/2006/relationships/chart" Target="../charts/chart23.xml"/><Relationship Id="rId4" Type="http://schemas.openxmlformats.org/officeDocument/2006/relationships/oleObject" Target="../embeddings/oleObject38.bin"/><Relationship Id="rId9" Type="http://schemas.openxmlformats.org/officeDocument/2006/relationships/image" Target="../media/image50.svg"/></Relationships>
</file>

<file path=ppt/slides/_rels/slide35.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slideLayout" Target="../slideLayouts/slideLayout8.xml"/><Relationship Id="rId7" Type="http://schemas.openxmlformats.org/officeDocument/2006/relationships/image" Target="../media/image47.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chart" Target="../charts/chart24.xml"/><Relationship Id="rId5" Type="http://schemas.openxmlformats.org/officeDocument/2006/relationships/image" Target="../media/image3.emf"/><Relationship Id="rId10" Type="http://schemas.openxmlformats.org/officeDocument/2006/relationships/image" Target="../media/image50.svg"/><Relationship Id="rId4" Type="http://schemas.openxmlformats.org/officeDocument/2006/relationships/oleObject" Target="../embeddings/oleObject39.bin"/><Relationship Id="rId9" Type="http://schemas.openxmlformats.org/officeDocument/2006/relationships/image" Target="../media/image49.png"/></Relationships>
</file>

<file path=ppt/slides/_rels/slide3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8.xml"/><Relationship Id="rId7" Type="http://schemas.openxmlformats.org/officeDocument/2006/relationships/chart" Target="../charts/chart26.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chart" Target="../charts/chart25.xml"/><Relationship Id="rId11" Type="http://schemas.openxmlformats.org/officeDocument/2006/relationships/image" Target="../media/image50.svg"/><Relationship Id="rId5" Type="http://schemas.openxmlformats.org/officeDocument/2006/relationships/image" Target="../media/image3.emf"/><Relationship Id="rId10" Type="http://schemas.openxmlformats.org/officeDocument/2006/relationships/image" Target="../media/image49.png"/><Relationship Id="rId4" Type="http://schemas.openxmlformats.org/officeDocument/2006/relationships/oleObject" Target="../embeddings/oleObject40.bin"/><Relationship Id="rId9" Type="http://schemas.openxmlformats.org/officeDocument/2006/relationships/image" Target="../media/image48.svg"/></Relationships>
</file>

<file path=ppt/slides/_rels/slide3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8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82.xml"/><Relationship Id="rId6" Type="http://schemas.openxmlformats.org/officeDocument/2006/relationships/image" Target="../media/image5.png"/></Relationships>
</file>

<file path=ppt/slides/_rels/slide38.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4.png"/><Relationship Id="rId11" Type="http://schemas.openxmlformats.org/officeDocument/2006/relationships/image" Target="../media/image52.svg"/><Relationship Id="rId5" Type="http://schemas.openxmlformats.org/officeDocument/2006/relationships/image" Target="../media/image3.emf"/><Relationship Id="rId10" Type="http://schemas.openxmlformats.org/officeDocument/2006/relationships/image" Target="../media/image51.png"/><Relationship Id="rId4" Type="http://schemas.openxmlformats.org/officeDocument/2006/relationships/oleObject" Target="../embeddings/oleObject42.bin"/><Relationship Id="rId9" Type="http://schemas.openxmlformats.org/officeDocument/2006/relationships/chart" Target="../charts/chart28.xml"/></Relationships>
</file>

<file path=ppt/slides/_rels/slide39.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2.xml"/><Relationship Id="rId7" Type="http://schemas.openxmlformats.org/officeDocument/2006/relationships/image" Target="../media/image51.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chart" Target="../charts/chart29.xml"/><Relationship Id="rId5" Type="http://schemas.openxmlformats.org/officeDocument/2006/relationships/image" Target="../media/image3.emf"/><Relationship Id="rId4" Type="http://schemas.openxmlformats.org/officeDocument/2006/relationships/oleObject" Target="../embeddings/oleObject43.bin"/></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8.xml"/><Relationship Id="rId2" Type="http://schemas.openxmlformats.org/officeDocument/2006/relationships/tags" Target="../tags/tag17.xml"/><Relationship Id="rId1" Type="http://schemas.openxmlformats.org/officeDocument/2006/relationships/tags" Target="../tags/tag16.xml"/><Relationship Id="rId6" Type="http://schemas.microsoft.com/office/2014/relationships/chartEx" Target="../charts/chartEx1.x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40.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8.xml"/><Relationship Id="rId7" Type="http://schemas.openxmlformats.org/officeDocument/2006/relationships/image" Target="../media/image51.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chart" Target="../charts/chart30.xml"/><Relationship Id="rId5" Type="http://schemas.openxmlformats.org/officeDocument/2006/relationships/image" Target="../media/image3.emf"/><Relationship Id="rId4" Type="http://schemas.openxmlformats.org/officeDocument/2006/relationships/oleObject" Target="../embeddings/oleObject44.bin"/></Relationships>
</file>

<file path=ppt/slides/_rels/slide4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8.xml"/><Relationship Id="rId7" Type="http://schemas.openxmlformats.org/officeDocument/2006/relationships/chart" Target="../charts/chart3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chart" Target="../charts/chart31.xml"/><Relationship Id="rId5" Type="http://schemas.openxmlformats.org/officeDocument/2006/relationships/image" Target="../media/image3.emf"/><Relationship Id="rId4" Type="http://schemas.openxmlformats.org/officeDocument/2006/relationships/oleObject" Target="../embeddings/oleObject45.bin"/><Relationship Id="rId9" Type="http://schemas.openxmlformats.org/officeDocument/2006/relationships/image" Target="../media/image52.svg"/></Relationships>
</file>

<file path=ppt/slides/_rels/slide4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9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92.xml"/><Relationship Id="rId6" Type="http://schemas.openxmlformats.org/officeDocument/2006/relationships/image" Target="../media/image5.png"/></Relationships>
</file>

<file path=ppt/slides/_rels/slide43.xml.rels><?xml version="1.0" encoding="UTF-8" standalone="yes"?>
<Relationships xmlns="http://schemas.openxmlformats.org/package/2006/relationships"><Relationship Id="rId8" Type="http://schemas.openxmlformats.org/officeDocument/2006/relationships/chart" Target="../charts/chart33.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4.png"/><Relationship Id="rId11" Type="http://schemas.openxmlformats.org/officeDocument/2006/relationships/image" Target="../media/image54.svg"/><Relationship Id="rId5" Type="http://schemas.openxmlformats.org/officeDocument/2006/relationships/image" Target="../media/image3.emf"/><Relationship Id="rId10" Type="http://schemas.openxmlformats.org/officeDocument/2006/relationships/image" Target="../media/image53.png"/><Relationship Id="rId4" Type="http://schemas.openxmlformats.org/officeDocument/2006/relationships/oleObject" Target="../embeddings/oleObject47.bin"/><Relationship Id="rId9" Type="http://schemas.openxmlformats.org/officeDocument/2006/relationships/chart" Target="../charts/chart34.xml"/></Relationships>
</file>

<file path=ppt/slides/_rels/slide44.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2.xml"/><Relationship Id="rId7" Type="http://schemas.openxmlformats.org/officeDocument/2006/relationships/image" Target="../media/image53.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chart" Target="../charts/chart35.xml"/><Relationship Id="rId5" Type="http://schemas.openxmlformats.org/officeDocument/2006/relationships/image" Target="../media/image3.emf"/><Relationship Id="rId4" Type="http://schemas.openxmlformats.org/officeDocument/2006/relationships/oleObject" Target="../embeddings/oleObject48.bin"/></Relationships>
</file>

<file path=ppt/slides/_rels/slide45.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8.xml"/><Relationship Id="rId7" Type="http://schemas.openxmlformats.org/officeDocument/2006/relationships/image" Target="../media/image53.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chart" Target="../charts/chart36.xml"/><Relationship Id="rId5" Type="http://schemas.openxmlformats.org/officeDocument/2006/relationships/image" Target="../media/image3.emf"/><Relationship Id="rId4" Type="http://schemas.openxmlformats.org/officeDocument/2006/relationships/oleObject" Target="../embeddings/oleObject49.bin"/></Relationships>
</file>

<file path=ppt/slides/_rels/slide46.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8.xml"/><Relationship Id="rId7" Type="http://schemas.openxmlformats.org/officeDocument/2006/relationships/chart" Target="../charts/chart38.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chart" Target="../charts/chart37.xml"/><Relationship Id="rId5" Type="http://schemas.openxmlformats.org/officeDocument/2006/relationships/image" Target="../media/image3.emf"/><Relationship Id="rId4" Type="http://schemas.openxmlformats.org/officeDocument/2006/relationships/oleObject" Target="../embeddings/oleObject50.bin"/><Relationship Id="rId9" Type="http://schemas.openxmlformats.org/officeDocument/2006/relationships/image" Target="../media/image54.svg"/></Relationships>
</file>

<file path=ppt/slides/_rels/slide4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0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02.xml"/><Relationship Id="rId6" Type="http://schemas.openxmlformats.org/officeDocument/2006/relationships/image" Target="../media/image5.png"/></Relationships>
</file>

<file path=ppt/slides/_rels/slide48.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4.png"/><Relationship Id="rId11" Type="http://schemas.openxmlformats.org/officeDocument/2006/relationships/image" Target="../media/image56.svg"/><Relationship Id="rId5" Type="http://schemas.openxmlformats.org/officeDocument/2006/relationships/image" Target="../media/image3.emf"/><Relationship Id="rId10" Type="http://schemas.openxmlformats.org/officeDocument/2006/relationships/image" Target="../media/image55.png"/><Relationship Id="rId4" Type="http://schemas.openxmlformats.org/officeDocument/2006/relationships/oleObject" Target="../embeddings/oleObject52.bin"/><Relationship Id="rId9" Type="http://schemas.openxmlformats.org/officeDocument/2006/relationships/chart" Target="../charts/chart40.xml"/></Relationships>
</file>

<file path=ppt/slides/_rels/slide49.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2.xml"/><Relationship Id="rId7" Type="http://schemas.openxmlformats.org/officeDocument/2006/relationships/image" Target="../media/image55.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chart" Target="../charts/chart41.xml"/><Relationship Id="rId5" Type="http://schemas.openxmlformats.org/officeDocument/2006/relationships/image" Target="../media/image3.emf"/><Relationship Id="rId4" Type="http://schemas.openxmlformats.org/officeDocument/2006/relationships/oleObject" Target="../embeddings/oleObject5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50.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8.xml"/><Relationship Id="rId7" Type="http://schemas.openxmlformats.org/officeDocument/2006/relationships/image" Target="../media/image55.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chart" Target="../charts/chart42.xml"/><Relationship Id="rId5" Type="http://schemas.openxmlformats.org/officeDocument/2006/relationships/image" Target="../media/image3.emf"/><Relationship Id="rId4" Type="http://schemas.openxmlformats.org/officeDocument/2006/relationships/oleObject" Target="../embeddings/oleObject54.bin"/></Relationships>
</file>

<file path=ppt/slides/_rels/slide5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8.xml"/><Relationship Id="rId7" Type="http://schemas.openxmlformats.org/officeDocument/2006/relationships/chart" Target="../charts/chart44.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chart" Target="../charts/chart43.xml"/><Relationship Id="rId5" Type="http://schemas.openxmlformats.org/officeDocument/2006/relationships/image" Target="../media/image3.emf"/><Relationship Id="rId4" Type="http://schemas.openxmlformats.org/officeDocument/2006/relationships/oleObject" Target="../embeddings/oleObject55.bin"/><Relationship Id="rId9" Type="http://schemas.openxmlformats.org/officeDocument/2006/relationships/image" Target="../media/image56.svg"/></Relationships>
</file>

<file path=ppt/slides/_rels/slide5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1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12.xml"/><Relationship Id="rId6" Type="http://schemas.openxmlformats.org/officeDocument/2006/relationships/image" Target="../media/image5.png"/></Relationships>
</file>

<file path=ppt/slides/_rels/slide53.xml.rels><?xml version="1.0" encoding="UTF-8" standalone="yes"?>
<Relationships xmlns="http://schemas.openxmlformats.org/package/2006/relationships"><Relationship Id="rId8" Type="http://schemas.openxmlformats.org/officeDocument/2006/relationships/chart" Target="../charts/chart4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4.png"/><Relationship Id="rId11" Type="http://schemas.openxmlformats.org/officeDocument/2006/relationships/image" Target="../media/image58.svg"/><Relationship Id="rId5" Type="http://schemas.openxmlformats.org/officeDocument/2006/relationships/image" Target="../media/image3.emf"/><Relationship Id="rId10" Type="http://schemas.openxmlformats.org/officeDocument/2006/relationships/image" Target="../media/image57.png"/><Relationship Id="rId4" Type="http://schemas.openxmlformats.org/officeDocument/2006/relationships/oleObject" Target="../embeddings/oleObject57.bin"/><Relationship Id="rId9" Type="http://schemas.openxmlformats.org/officeDocument/2006/relationships/chart" Target="../charts/chart46.xml"/></Relationships>
</file>

<file path=ppt/slides/_rels/slide54.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2.xml"/><Relationship Id="rId7" Type="http://schemas.openxmlformats.org/officeDocument/2006/relationships/image" Target="../media/image57.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chart" Target="../charts/chart47.xml"/><Relationship Id="rId5" Type="http://schemas.openxmlformats.org/officeDocument/2006/relationships/image" Target="../media/image3.emf"/><Relationship Id="rId4" Type="http://schemas.openxmlformats.org/officeDocument/2006/relationships/oleObject" Target="../embeddings/oleObject58.bin"/></Relationships>
</file>

<file path=ppt/slides/_rels/slide55.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8.xml"/><Relationship Id="rId7" Type="http://schemas.openxmlformats.org/officeDocument/2006/relationships/image" Target="../media/image57.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chart" Target="../charts/chart48.xml"/><Relationship Id="rId5" Type="http://schemas.openxmlformats.org/officeDocument/2006/relationships/image" Target="../media/image3.emf"/><Relationship Id="rId4" Type="http://schemas.openxmlformats.org/officeDocument/2006/relationships/oleObject" Target="../embeddings/oleObject59.bin"/></Relationships>
</file>

<file path=ppt/slides/_rels/slide56.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8.xml"/><Relationship Id="rId7" Type="http://schemas.openxmlformats.org/officeDocument/2006/relationships/chart" Target="../charts/chart50.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chart" Target="../charts/chart49.xml"/><Relationship Id="rId5" Type="http://schemas.openxmlformats.org/officeDocument/2006/relationships/image" Target="../media/image3.emf"/><Relationship Id="rId4" Type="http://schemas.openxmlformats.org/officeDocument/2006/relationships/oleObject" Target="../embeddings/oleObject60.bin"/><Relationship Id="rId9" Type="http://schemas.openxmlformats.org/officeDocument/2006/relationships/image" Target="../media/image58.svg"/></Relationships>
</file>

<file path=ppt/slides/_rels/slide5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2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22.xml"/><Relationship Id="rId6" Type="http://schemas.openxmlformats.org/officeDocument/2006/relationships/image" Target="../media/image5.png"/></Relationships>
</file>

<file path=ppt/slides/_rels/slide58.xml.rels><?xml version="1.0" encoding="UTF-8" standalone="yes"?>
<Relationships xmlns="http://schemas.openxmlformats.org/package/2006/relationships"><Relationship Id="rId8" Type="http://schemas.openxmlformats.org/officeDocument/2006/relationships/chart" Target="../charts/chart51.xml"/><Relationship Id="rId13" Type="http://schemas.openxmlformats.org/officeDocument/2006/relationships/image" Target="../media/image62.svg"/><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61.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4.png"/><Relationship Id="rId11" Type="http://schemas.openxmlformats.org/officeDocument/2006/relationships/image" Target="../media/image60.svg"/><Relationship Id="rId5" Type="http://schemas.openxmlformats.org/officeDocument/2006/relationships/image" Target="../media/image3.emf"/><Relationship Id="rId10" Type="http://schemas.openxmlformats.org/officeDocument/2006/relationships/image" Target="../media/image59.png"/><Relationship Id="rId4" Type="http://schemas.openxmlformats.org/officeDocument/2006/relationships/oleObject" Target="../embeddings/oleObject62.bin"/><Relationship Id="rId9" Type="http://schemas.openxmlformats.org/officeDocument/2006/relationships/chart" Target="../charts/chart52.xml"/></Relationships>
</file>

<file path=ppt/slides/_rels/slide59.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2.xml"/><Relationship Id="rId7" Type="http://schemas.openxmlformats.org/officeDocument/2006/relationships/image" Target="../media/image59.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chart" Target="../charts/chart53.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3.bin"/><Relationship Id="rId9" Type="http://schemas.openxmlformats.org/officeDocument/2006/relationships/image" Target="../media/image61.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60.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8.xml"/><Relationship Id="rId7" Type="http://schemas.openxmlformats.org/officeDocument/2006/relationships/image" Target="../media/image59.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chart" Target="../charts/chart54.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4.bin"/><Relationship Id="rId9" Type="http://schemas.openxmlformats.org/officeDocument/2006/relationships/image" Target="../media/image61.png"/></Relationships>
</file>

<file path=ppt/slides/_rels/slide61.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8.xml"/><Relationship Id="rId7" Type="http://schemas.openxmlformats.org/officeDocument/2006/relationships/chart" Target="../charts/chart56.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chart" Target="../charts/chart55.xml"/><Relationship Id="rId11" Type="http://schemas.openxmlformats.org/officeDocument/2006/relationships/image" Target="../media/image62.svg"/><Relationship Id="rId5" Type="http://schemas.openxmlformats.org/officeDocument/2006/relationships/image" Target="../media/image3.emf"/><Relationship Id="rId10" Type="http://schemas.openxmlformats.org/officeDocument/2006/relationships/image" Target="../media/image61.png"/><Relationship Id="rId4" Type="http://schemas.openxmlformats.org/officeDocument/2006/relationships/oleObject" Target="../embeddings/oleObject65.bin"/><Relationship Id="rId9" Type="http://schemas.openxmlformats.org/officeDocument/2006/relationships/image" Target="../media/image60.svg"/></Relationships>
</file>

<file path=ppt/slides/_rels/slide6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3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32.xml"/><Relationship Id="rId6" Type="http://schemas.openxmlformats.org/officeDocument/2006/relationships/image" Target="../media/image5.png"/></Relationships>
</file>

<file path=ppt/slides/_rels/slide6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4.png"/><Relationship Id="rId11" Type="http://schemas.openxmlformats.org/officeDocument/2006/relationships/chart" Target="../charts/chart58.xml"/><Relationship Id="rId5" Type="http://schemas.openxmlformats.org/officeDocument/2006/relationships/image" Target="../media/image3.emf"/><Relationship Id="rId10" Type="http://schemas.openxmlformats.org/officeDocument/2006/relationships/chart" Target="../charts/chart57.xml"/><Relationship Id="rId4" Type="http://schemas.openxmlformats.org/officeDocument/2006/relationships/oleObject" Target="../embeddings/oleObject67.bin"/><Relationship Id="rId9" Type="http://schemas.openxmlformats.org/officeDocument/2006/relationships/image" Target="../media/image64.svg"/></Relationships>
</file>

<file path=ppt/slides/_rels/slide64.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slideLayout" Target="../slideLayouts/slideLayout2.xml"/><Relationship Id="rId7" Type="http://schemas.openxmlformats.org/officeDocument/2006/relationships/image" Target="../media/image64.svg"/><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63.png"/><Relationship Id="rId5" Type="http://schemas.openxmlformats.org/officeDocument/2006/relationships/image" Target="../media/image3.emf"/><Relationship Id="rId4" Type="http://schemas.openxmlformats.org/officeDocument/2006/relationships/oleObject" Target="../embeddings/oleObject68.bin"/></Relationships>
</file>

<file path=ppt/slides/_rels/slide65.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chart" Target="../charts/chart60.xml"/><Relationship Id="rId5" Type="http://schemas.openxmlformats.org/officeDocument/2006/relationships/image" Target="../media/image3.emf"/><Relationship Id="rId4" Type="http://schemas.openxmlformats.org/officeDocument/2006/relationships/oleObject" Target="../embeddings/oleObject69.bin"/></Relationships>
</file>

<file path=ppt/slides/_rels/slide66.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chart" Target="../charts/chart61.xml"/><Relationship Id="rId5" Type="http://schemas.openxmlformats.org/officeDocument/2006/relationships/image" Target="../media/image3.emf"/><Relationship Id="rId4" Type="http://schemas.openxmlformats.org/officeDocument/2006/relationships/oleObject" Target="../embeddings/oleObject70.bin"/></Relationships>
</file>

<file path=ppt/slides/_rels/slide6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42.xml"/><Relationship Id="rId6" Type="http://schemas.openxmlformats.org/officeDocument/2006/relationships/image" Target="../media/image5.png"/></Relationships>
</file>

<file path=ppt/slides/_rels/slide68.xml.rels><?xml version="1.0" encoding="UTF-8" standalone="yes"?>
<Relationships xmlns="http://schemas.openxmlformats.org/package/2006/relationships"><Relationship Id="rId8" Type="http://schemas.openxmlformats.org/officeDocument/2006/relationships/chart" Target="../charts/chart62.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4.png"/><Relationship Id="rId11" Type="http://schemas.openxmlformats.org/officeDocument/2006/relationships/image" Target="../media/image66.svg"/><Relationship Id="rId5" Type="http://schemas.openxmlformats.org/officeDocument/2006/relationships/image" Target="../media/image3.emf"/><Relationship Id="rId10" Type="http://schemas.openxmlformats.org/officeDocument/2006/relationships/image" Target="../media/image65.png"/><Relationship Id="rId4" Type="http://schemas.openxmlformats.org/officeDocument/2006/relationships/oleObject" Target="../embeddings/oleObject72.bin"/><Relationship Id="rId9" Type="http://schemas.openxmlformats.org/officeDocument/2006/relationships/chart" Target="../charts/chart63.xml"/></Relationships>
</file>

<file path=ppt/slides/_rels/slide69.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2.xml"/><Relationship Id="rId7" Type="http://schemas.openxmlformats.org/officeDocument/2006/relationships/image" Target="../media/image65.pn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chart" Target="../charts/chart64.xml"/><Relationship Id="rId5" Type="http://schemas.openxmlformats.org/officeDocument/2006/relationships/image" Target="../media/image3.emf"/><Relationship Id="rId4" Type="http://schemas.openxmlformats.org/officeDocument/2006/relationships/oleObject" Target="../embeddings/oleObject73.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70.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8.xml"/><Relationship Id="rId7" Type="http://schemas.openxmlformats.org/officeDocument/2006/relationships/image" Target="../media/image65.pn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chart" Target="../charts/chart65.xml"/><Relationship Id="rId5" Type="http://schemas.openxmlformats.org/officeDocument/2006/relationships/image" Target="../media/image3.emf"/><Relationship Id="rId4" Type="http://schemas.openxmlformats.org/officeDocument/2006/relationships/oleObject" Target="../embeddings/oleObject74.bin"/></Relationships>
</file>

<file path=ppt/slides/_rels/slide71.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8.xml"/><Relationship Id="rId7" Type="http://schemas.openxmlformats.org/officeDocument/2006/relationships/chart" Target="../charts/chart67.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chart" Target="../charts/chart66.xml"/><Relationship Id="rId5" Type="http://schemas.openxmlformats.org/officeDocument/2006/relationships/image" Target="../media/image3.emf"/><Relationship Id="rId4" Type="http://schemas.openxmlformats.org/officeDocument/2006/relationships/oleObject" Target="../embeddings/oleObject75.bin"/><Relationship Id="rId9" Type="http://schemas.openxmlformats.org/officeDocument/2006/relationships/image" Target="../media/image66.svg"/></Relationships>
</file>

<file path=ppt/slides/_rels/slide7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52.xml"/><Relationship Id="rId6" Type="http://schemas.openxmlformats.org/officeDocument/2006/relationships/image" Target="../media/image5.png"/></Relationships>
</file>

<file path=ppt/slides/_rels/slide73.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14.png"/><Relationship Id="rId11" Type="http://schemas.openxmlformats.org/officeDocument/2006/relationships/image" Target="../media/image68.svg"/><Relationship Id="rId5" Type="http://schemas.openxmlformats.org/officeDocument/2006/relationships/image" Target="../media/image3.emf"/><Relationship Id="rId10" Type="http://schemas.openxmlformats.org/officeDocument/2006/relationships/image" Target="../media/image67.png"/><Relationship Id="rId4" Type="http://schemas.openxmlformats.org/officeDocument/2006/relationships/oleObject" Target="../embeddings/oleObject77.bin"/><Relationship Id="rId9" Type="http://schemas.openxmlformats.org/officeDocument/2006/relationships/chart" Target="../charts/chart69.xml"/></Relationships>
</file>

<file path=ppt/slides/_rels/slide74.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2.xml"/><Relationship Id="rId7" Type="http://schemas.openxmlformats.org/officeDocument/2006/relationships/image" Target="../media/image67.pn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chart" Target="../charts/chart70.xml"/><Relationship Id="rId5" Type="http://schemas.openxmlformats.org/officeDocument/2006/relationships/image" Target="../media/image3.emf"/><Relationship Id="rId4" Type="http://schemas.openxmlformats.org/officeDocument/2006/relationships/oleObject" Target="../embeddings/oleObject78.bin"/></Relationships>
</file>

<file path=ppt/slides/_rels/slide75.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8.xml"/><Relationship Id="rId7" Type="http://schemas.openxmlformats.org/officeDocument/2006/relationships/image" Target="../media/image67.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chart" Target="../charts/chart71.xml"/><Relationship Id="rId5" Type="http://schemas.openxmlformats.org/officeDocument/2006/relationships/image" Target="../media/image3.emf"/><Relationship Id="rId4" Type="http://schemas.openxmlformats.org/officeDocument/2006/relationships/oleObject" Target="../embeddings/oleObject79.bin"/></Relationships>
</file>

<file path=ppt/slides/_rels/slide7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8.xml"/><Relationship Id="rId7" Type="http://schemas.openxmlformats.org/officeDocument/2006/relationships/chart" Target="../charts/chart73.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chart" Target="../charts/chart72.xml"/><Relationship Id="rId5" Type="http://schemas.openxmlformats.org/officeDocument/2006/relationships/image" Target="../media/image3.emf"/><Relationship Id="rId4" Type="http://schemas.openxmlformats.org/officeDocument/2006/relationships/oleObject" Target="../embeddings/oleObject80.bin"/><Relationship Id="rId9" Type="http://schemas.openxmlformats.org/officeDocument/2006/relationships/image" Target="../media/image68.svg"/></Relationships>
</file>

<file path=ppt/slides/_rels/slide77.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81.bin"/><Relationship Id="rId9" Type="http://schemas.openxmlformats.org/officeDocument/2006/relationships/slide" Target="slide16.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3.emf"/><Relationship Id="rId4" Type="http://schemas.openxmlformats.org/officeDocument/2006/relationships/oleObject" Target="../embeddings/oleObject82.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3.emf"/><Relationship Id="rId4" Type="http://schemas.openxmlformats.org/officeDocument/2006/relationships/oleObject" Target="../embeddings/oleObject83.bin"/></Relationships>
</file>

<file path=ppt/slides/_rels/slide8.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3.xml"/><Relationship Id="rId7" Type="http://schemas.openxmlformats.org/officeDocument/2006/relationships/image" Target="../media/image5.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hyperlink" Target="https://www.itspublic.nl/materialen/gemeentefonds" TargetMode="External"/><Relationship Id="rId5" Type="http://schemas.openxmlformats.org/officeDocument/2006/relationships/image" Target="../media/image3.emf"/><Relationship Id="rId4" Type="http://schemas.openxmlformats.org/officeDocument/2006/relationships/oleObject" Target="../embeddings/oleObject12.bin"/></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3.emf"/><Relationship Id="rId4" Type="http://schemas.openxmlformats.org/officeDocument/2006/relationships/oleObject" Target="../embeddings/oleObject84.bin"/></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2.emf"/><Relationship Id="rId4" Type="http://schemas.openxmlformats.org/officeDocument/2006/relationships/oleObject" Target="../embeddings/oleObject85.bin"/></Relationships>
</file>

<file path=ppt/slides/_rels/slide82.xml.rels><?xml version="1.0" encoding="UTF-8" standalone="yes"?>
<Relationships xmlns="http://schemas.openxmlformats.org/package/2006/relationships"><Relationship Id="rId8" Type="http://schemas.openxmlformats.org/officeDocument/2006/relationships/hyperlink" Target="https://www.itspublic.nl/materialen/gemeentefonds" TargetMode="External"/><Relationship Id="rId3" Type="http://schemas.openxmlformats.org/officeDocument/2006/relationships/slideLayout" Target="../slideLayouts/slideLayout2.xml"/><Relationship Id="rId7" Type="http://schemas.openxmlformats.org/officeDocument/2006/relationships/hyperlink" Target="https://www.itspublic.nl/materialen/" TargetMode="Externa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69.png"/><Relationship Id="rId5" Type="http://schemas.openxmlformats.org/officeDocument/2006/relationships/image" Target="../media/image2.emf"/><Relationship Id="rId10" Type="http://schemas.openxmlformats.org/officeDocument/2006/relationships/image" Target="../media/image70.svg"/><Relationship Id="rId4" Type="http://schemas.openxmlformats.org/officeDocument/2006/relationships/oleObject" Target="../embeddings/oleObject86.bin"/><Relationship Id="rId9" Type="http://schemas.openxmlformats.org/officeDocument/2006/relationships/image" Target="../media/image5.png"/></Relationships>
</file>

<file path=ppt/slides/_rels/slide8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6.xml"/><Relationship Id="rId7" Type="http://schemas.openxmlformats.org/officeDocument/2006/relationships/hyperlink" Target="http://creativecommons.org/licenses/by/4.0/" TargetMode="Externa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hyperlink" Target="http://www.itspublic.nl/" TargetMode="External"/><Relationship Id="rId5" Type="http://schemas.openxmlformats.org/officeDocument/2006/relationships/image" Target="../media/image71.emf"/><Relationship Id="rId4" Type="http://schemas.openxmlformats.org/officeDocument/2006/relationships/oleObject" Target="../embeddings/oleObject87.bin"/><Relationship Id="rId9" Type="http://schemas.openxmlformats.org/officeDocument/2006/relationships/image" Target="../media/image73.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13.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12" name="Picture 11" descr="A picture containing sitting, person, doing, board&#10;&#10;Description automatically generated">
            <a:extLst>
              <a:ext uri="{FF2B5EF4-FFF2-40B4-BE49-F238E27FC236}">
                <a16:creationId xmlns:a16="http://schemas.microsoft.com/office/drawing/2014/main" id="{7D4487E2-62A7-419E-BF2D-AEECC9E06A61}"/>
              </a:ext>
            </a:extLst>
          </p:cNvPr>
          <p:cNvPicPr>
            <a:picLocks noChangeAspect="1"/>
          </p:cNvPicPr>
          <p:nvPr/>
        </p:nvPicPr>
        <p:blipFill rotWithShape="1">
          <a:blip r:embed="rId6">
            <a:alphaModFix amt="5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34633" r="28342"/>
          <a:stretch/>
        </p:blipFill>
        <p:spPr>
          <a:xfrm>
            <a:off x="6682068" y="-69913"/>
            <a:ext cx="4981612" cy="7056764"/>
          </a:xfrm>
          <a:prstGeom prst="rect">
            <a:avLst/>
          </a:prstGeom>
        </p:spPr>
      </p:pic>
      <p:sp>
        <p:nvSpPr>
          <p:cNvPr id="14" name="Title 4">
            <a:extLst>
              <a:ext uri="{FF2B5EF4-FFF2-40B4-BE49-F238E27FC236}">
                <a16:creationId xmlns:a16="http://schemas.microsoft.com/office/drawing/2014/main" id="{CE372685-5583-4A9D-9DAC-037914575A49}"/>
              </a:ext>
            </a:extLst>
          </p:cNvPr>
          <p:cNvSpPr txBox="1">
            <a:spLocks/>
          </p:cNvSpPr>
          <p:nvPr/>
        </p:nvSpPr>
        <p:spPr>
          <a:xfrm>
            <a:off x="679133" y="1280162"/>
            <a:ext cx="5474615" cy="1209039"/>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4400" dirty="0">
                <a:solidFill>
                  <a:schemeClr val="bg1"/>
                </a:solidFill>
              </a:rPr>
              <a:t>Het gemeentefonds inzichtelijk</a:t>
            </a:r>
            <a:endParaRPr lang="nl-NL" dirty="0">
              <a:solidFill>
                <a:schemeClr val="bg1"/>
              </a:solidFill>
            </a:endParaRPr>
          </a:p>
        </p:txBody>
      </p:sp>
      <p:sp>
        <p:nvSpPr>
          <p:cNvPr id="18" name="Text Placeholder 5">
            <a:extLst>
              <a:ext uri="{FF2B5EF4-FFF2-40B4-BE49-F238E27FC236}">
                <a16:creationId xmlns:a16="http://schemas.microsoft.com/office/drawing/2014/main" id="{C43B785F-587C-42D2-A4EF-DF4075827BD6}"/>
              </a:ext>
            </a:extLst>
          </p:cNvPr>
          <p:cNvSpPr txBox="1">
            <a:spLocks/>
          </p:cNvSpPr>
          <p:nvPr/>
        </p:nvSpPr>
        <p:spPr>
          <a:xfrm>
            <a:off x="658813" y="5379720"/>
            <a:ext cx="5437188" cy="938771"/>
          </a:xfrm>
          <a:prstGeom prst="rect">
            <a:avLst/>
          </a:prstGeom>
          <a:solidFill>
            <a:srgbClr val="22777B"/>
          </a:solid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600" dirty="0">
                <a:solidFill>
                  <a:schemeClr val="bg1"/>
                </a:solidFill>
                <a:ea typeface="+mj-ea"/>
                <a:cs typeface="+mj-cs"/>
              </a:rPr>
              <a:t>Publicatie: augustus 2020 </a:t>
            </a:r>
            <a:br>
              <a:rPr lang="nl-NL" sz="1600" dirty="0">
                <a:solidFill>
                  <a:schemeClr val="bg1"/>
                </a:solidFill>
                <a:ea typeface="+mj-ea"/>
                <a:cs typeface="+mj-cs"/>
              </a:rPr>
            </a:br>
            <a:r>
              <a:rPr lang="nl-NL" sz="1600" dirty="0">
                <a:solidFill>
                  <a:schemeClr val="bg1"/>
                </a:solidFill>
                <a:ea typeface="+mj-ea"/>
                <a:cs typeface="+mj-cs"/>
              </a:rPr>
              <a:t>obv. meicirculaire 2020</a:t>
            </a:r>
          </a:p>
        </p:txBody>
      </p:sp>
      <p:sp>
        <p:nvSpPr>
          <p:cNvPr id="3" name="Rectangle 2">
            <a:extLst>
              <a:ext uri="{FF2B5EF4-FFF2-40B4-BE49-F238E27FC236}">
                <a16:creationId xmlns:a16="http://schemas.microsoft.com/office/drawing/2014/main" id="{F7AEA1CD-5D8C-4B5F-B783-477F2EFE46DF}"/>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9" name="TextBox 18">
            <a:extLst>
              <a:ext uri="{FF2B5EF4-FFF2-40B4-BE49-F238E27FC236}">
                <a16:creationId xmlns:a16="http://schemas.microsoft.com/office/drawing/2014/main" id="{B4F13CAA-10AC-40C3-85B3-C4602274905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Rectangle 20">
            <a:extLst>
              <a:ext uri="{FF2B5EF4-FFF2-40B4-BE49-F238E27FC236}">
                <a16:creationId xmlns:a16="http://schemas.microsoft.com/office/drawing/2014/main" id="{CDA100CA-183E-4915-863F-4149D0FCBAF8}"/>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22" name="Group 21">
            <a:extLst>
              <a:ext uri="{FF2B5EF4-FFF2-40B4-BE49-F238E27FC236}">
                <a16:creationId xmlns:a16="http://schemas.microsoft.com/office/drawing/2014/main" id="{A84FC1E7-10C2-4449-ACA8-2FFD26B46605}"/>
              </a:ext>
            </a:extLst>
          </p:cNvPr>
          <p:cNvGrpSpPr/>
          <p:nvPr/>
        </p:nvGrpSpPr>
        <p:grpSpPr>
          <a:xfrm>
            <a:off x="66790" y="6692947"/>
            <a:ext cx="544183" cy="124497"/>
            <a:chOff x="2836862" y="3068799"/>
            <a:chExt cx="3837128" cy="877845"/>
          </a:xfrm>
          <a:solidFill>
            <a:schemeClr val="bg1"/>
          </a:solidFill>
        </p:grpSpPr>
        <p:sp>
          <p:nvSpPr>
            <p:cNvPr id="23" name="TextBox 22">
              <a:extLst>
                <a:ext uri="{FF2B5EF4-FFF2-40B4-BE49-F238E27FC236}">
                  <a16:creationId xmlns:a16="http://schemas.microsoft.com/office/drawing/2014/main" id="{FEA978C1-21B0-4545-B45D-13B98661FE69}"/>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0E9E7FFF-6406-41C8-A6AF-8CD7F9D5CF95}"/>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2D4AFB71-F9CC-4D6F-A709-AD1CB25D8581}"/>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CB64ECD4-5932-473E-92C9-BC2BC8514C5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2D05272C-0F92-40D3-A29D-6A2D9E7A19DB}"/>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0A8324A-B581-48FD-B820-F3B9A51C591D}"/>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69AFC7F8-5640-4341-8085-DE81CEE60B85}"/>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0A6EF3E4-44BE-48E2-837D-AF94B12F3A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B7AE7189-631A-4970-B4C7-C6306BEAA486}"/>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2F84FEB2-831F-45B9-ABBC-FC9D2FDDFA84}"/>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C58E9054-F723-4EA1-8229-E1292F9830E1}"/>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9A60C4CD-ADC0-4964-A46F-F2DBF5A01468}"/>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27" name="Title 4">
            <a:extLst>
              <a:ext uri="{FF2B5EF4-FFF2-40B4-BE49-F238E27FC236}">
                <a16:creationId xmlns:a16="http://schemas.microsoft.com/office/drawing/2014/main" id="{39E99D80-B2E8-49FD-B2ED-0F618464F0F9}"/>
              </a:ext>
            </a:extLst>
          </p:cNvPr>
          <p:cNvSpPr txBox="1">
            <a:spLocks/>
          </p:cNvSpPr>
          <p:nvPr/>
        </p:nvSpPr>
        <p:spPr>
          <a:xfrm>
            <a:off x="679133" y="2715997"/>
            <a:ext cx="5474615" cy="873760"/>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3200">
                <a:solidFill>
                  <a:schemeClr val="bg1"/>
                </a:solidFill>
              </a:rPr>
              <a:t>Gemeente Sliedrecht</a:t>
            </a:r>
            <a:endParaRPr lang="nl-NL" sz="2400" dirty="0">
              <a:solidFill>
                <a:schemeClr val="bg1"/>
              </a:solidFill>
            </a:endParaRPr>
          </a:p>
        </p:txBody>
      </p:sp>
    </p:spTree>
    <p:extLst>
      <p:ext uri="{BB962C8B-B14F-4D97-AF65-F5344CB8AC3E}">
        <p14:creationId xmlns:p14="http://schemas.microsoft.com/office/powerpoint/2010/main" val="13209542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942695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66D1899D-313A-414D-B409-CD84376A24B6}"/>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6C953F87-3182-44F3-967E-0BCC449B69CE}"/>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203DAED5-92F6-4E57-A03E-CE84CD9E072D}"/>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80A6688C-E470-4C35-ACA9-0C2061C1A943}"/>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2739BC2A-39EE-4086-9C7B-15B1223FBB94}"/>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6EE8390C-0CBD-476B-9917-F8074EEF551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435CB890-37FE-4136-83F1-9B5A25D5276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C60CE839-DA40-416B-A32A-4B74160A56B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B846845E-83D0-4244-8E9D-AD8DB69C25C5}"/>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8080891-9BBE-4E29-8E6F-C70446B1B9DC}"/>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1B723F41-6860-4CF5-ACE2-4B932F429FD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5D389-D15E-4031-BE6E-B48CD32CC3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8E9B5A6D-C097-4387-B4A1-48B078CFF77F}"/>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16FDCED-D8F9-47A3-B833-7BA093E3665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A7A2DD82-B084-4002-B15D-BDC0AB6BD1D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0BFCEC1A-7EBF-477C-80A6-8E33209AF8BE}"/>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855834AD-5D12-41D3-8EFC-8C6BA7015A6B}"/>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4C0D12A7-AC80-465F-8D5E-FD63BB393E04}"/>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131BF816-FB3D-46B5-867D-27814D42009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D2A28487-FF01-4061-917D-03A4B254C87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3144206"/>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D6CBB4D5-FC9A-4DAA-B317-0DC8CB7D4D99}"/>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E35295AE-4397-4D51-8410-7D4A0CFE3439}"/>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3369021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03902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Sliedrecht is ca. 42 mln (1/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1</a:t>
            </a:fld>
            <a:endParaRPr lang="nl-NL"/>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1944188044"/>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7"/>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810870"/>
            <a:ext cx="1782147" cy="995392"/>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 per cluster. Deze zijn door gemeenten naar eigen inzicht te bested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810872"/>
            <a:ext cx="1782147" cy="995389"/>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 met een geoormerkt doel.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810870"/>
            <a:ext cx="1782147" cy="99539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Mindering van 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 op basis van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verdienvermogen gemeente (ozb waarde)</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810873"/>
            <a:ext cx="1782147" cy="97457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incl. aanvullen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810872"/>
            <a:ext cx="1782147" cy="995390"/>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20 (meicirculaire)</a:t>
            </a:r>
          </a:p>
        </p:txBody>
      </p:sp>
      <p:sp>
        <p:nvSpPr>
          <p:cNvPr id="42" name="Extra Title 2">
            <a:extLst>
              <a:ext uri="{FF2B5EF4-FFF2-40B4-BE49-F238E27FC236}">
                <a16:creationId xmlns:a16="http://schemas.microsoft.com/office/drawing/2014/main" id="{67A4D934-7DA7-4EB1-B691-B698793D987A}"/>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Sliedrecht</a:t>
            </a:r>
            <a:endParaRPr lang="nl-NL" sz="1200" dirty="0"/>
          </a:p>
        </p:txBody>
      </p:sp>
      <p:sp>
        <p:nvSpPr>
          <p:cNvPr id="43" name="Rectangle 42">
            <a:extLst>
              <a:ext uri="{FF2B5EF4-FFF2-40B4-BE49-F238E27FC236}">
                <a16:creationId xmlns:a16="http://schemas.microsoft.com/office/drawing/2014/main" id="{6435DDD7-B8D5-4463-84C5-45FF38B40A6C}"/>
              </a:ext>
            </a:extLst>
          </p:cNvPr>
          <p:cNvSpPr/>
          <p:nvPr/>
        </p:nvSpPr>
        <p:spPr>
          <a:xfrm>
            <a:off x="923730"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E27CFE76-E7AC-4484-9AE4-F4B40AA9F550}"/>
              </a:ext>
            </a:extLst>
          </p:cNvPr>
          <p:cNvSpPr/>
          <p:nvPr/>
        </p:nvSpPr>
        <p:spPr>
          <a:xfrm>
            <a:off x="7361802"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anvullend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7BFA15DD-F8AF-4169-83BE-BCAF482F4DF3}"/>
              </a:ext>
            </a:extLst>
          </p:cNvPr>
          <p:cNvSpPr/>
          <p:nvPr/>
        </p:nvSpPr>
        <p:spPr>
          <a:xfrm>
            <a:off x="3085323"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middelen</a:t>
            </a:r>
          </a:p>
        </p:txBody>
      </p:sp>
      <p:sp>
        <p:nvSpPr>
          <p:cNvPr id="46" name="Rectangle 45">
            <a:extLst>
              <a:ext uri="{FF2B5EF4-FFF2-40B4-BE49-F238E27FC236}">
                <a16:creationId xmlns:a16="http://schemas.microsoft.com/office/drawing/2014/main" id="{CD1B0669-75FF-4D93-985F-721B417F87EE}"/>
              </a:ext>
            </a:extLst>
          </p:cNvPr>
          <p:cNvSpPr/>
          <p:nvPr/>
        </p:nvSpPr>
        <p:spPr>
          <a:xfrm>
            <a:off x="950700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C4A56F03-08C9-42C2-85B0-1DCDF9D4C01A}"/>
              </a:ext>
            </a:extLst>
          </p:cNvPr>
          <p:cNvSpPr/>
          <p:nvPr/>
        </p:nvSpPr>
        <p:spPr>
          <a:xfrm>
            <a:off x="520492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al 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9783F73-3A1E-45E2-BBB0-F7B9AEA9C5C6}"/>
              </a:ext>
            </a:extLst>
          </p:cNvPr>
          <p:cNvSpPr/>
          <p:nvPr/>
        </p:nvSpPr>
        <p:spPr>
          <a:xfrm>
            <a:off x="9507006"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41,7</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3" name="Rectangle 52">
            <a:extLst>
              <a:ext uri="{FF2B5EF4-FFF2-40B4-BE49-F238E27FC236}">
                <a16:creationId xmlns:a16="http://schemas.microsoft.com/office/drawing/2014/main" id="{AD04BA63-37DC-4B98-85DC-AB3579CCEB4A}"/>
              </a:ext>
            </a:extLst>
          </p:cNvPr>
          <p:cNvSpPr/>
          <p:nvPr/>
        </p:nvSpPr>
        <p:spPr>
          <a:xfrm>
            <a:off x="7374188"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8</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0A028EAD-6977-492D-B23A-920B69F4888E}"/>
              </a:ext>
            </a:extLst>
          </p:cNvPr>
          <p:cNvSpPr/>
          <p:nvPr/>
        </p:nvSpPr>
        <p:spPr>
          <a:xfrm>
            <a:off x="5199010"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7,9</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5" name="Rectangle 54">
            <a:extLst>
              <a:ext uri="{FF2B5EF4-FFF2-40B4-BE49-F238E27FC236}">
                <a16:creationId xmlns:a16="http://schemas.microsoft.com/office/drawing/2014/main" id="{720C048F-6907-49CB-90CA-2176BDE4AC2B}"/>
              </a:ext>
            </a:extLst>
          </p:cNvPr>
          <p:cNvSpPr/>
          <p:nvPr/>
        </p:nvSpPr>
        <p:spPr>
          <a:xfrm>
            <a:off x="3085322"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2</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6" name="Rectangle 55">
            <a:extLst>
              <a:ext uri="{FF2B5EF4-FFF2-40B4-BE49-F238E27FC236}">
                <a16:creationId xmlns:a16="http://schemas.microsoft.com/office/drawing/2014/main" id="{1C821E67-BE6D-49EE-8378-67B1C26199DF}"/>
              </a:ext>
            </a:extLst>
          </p:cNvPr>
          <p:cNvSpPr/>
          <p:nvPr/>
        </p:nvSpPr>
        <p:spPr>
          <a:xfrm>
            <a:off x="933061"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41,1</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27897520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3990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4" name="Rectangle: Rounded Corners 33">
            <a:extLst>
              <a:ext uri="{FF2B5EF4-FFF2-40B4-BE49-F238E27FC236}">
                <a16:creationId xmlns:a16="http://schemas.microsoft.com/office/drawing/2014/main" id="{AA3D72C5-9A8F-4D95-9939-1805B4F172B9}"/>
              </a:ext>
            </a:extLst>
          </p:cNvPr>
          <p:cNvSpPr/>
          <p:nvPr/>
        </p:nvSpPr>
        <p:spPr>
          <a:xfrm>
            <a:off x="4336076"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5" name="Rectangle: Rounded Corners 34">
            <a:extLst>
              <a:ext uri="{FF2B5EF4-FFF2-40B4-BE49-F238E27FC236}">
                <a16:creationId xmlns:a16="http://schemas.microsoft.com/office/drawing/2014/main" id="{399C8603-1C74-4A57-81B6-D71E552E96C1}"/>
              </a:ext>
            </a:extLst>
          </p:cNvPr>
          <p:cNvSpPr/>
          <p:nvPr/>
        </p:nvSpPr>
        <p:spPr>
          <a:xfrm>
            <a:off x="8005405"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3" name="Rectangle: Rounded Corners 32">
            <a:extLst>
              <a:ext uri="{FF2B5EF4-FFF2-40B4-BE49-F238E27FC236}">
                <a16:creationId xmlns:a16="http://schemas.microsoft.com/office/drawing/2014/main" id="{6025B4EF-188A-4DE5-B31D-7779C84FBB74}"/>
              </a:ext>
            </a:extLst>
          </p:cNvPr>
          <p:cNvSpPr/>
          <p:nvPr/>
        </p:nvSpPr>
        <p:spPr>
          <a:xfrm>
            <a:off x="666747"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Sliedrecht is ca. 42 mln (2/3)</a:t>
            </a:r>
            <a:endParaRPr lang="nl-NL" dirty="0"/>
          </a:p>
        </p:txBody>
      </p:sp>
      <p:sp>
        <p:nvSpPr>
          <p:cNvPr id="15" name="Text Placeholder 14">
            <a:extLst>
              <a:ext uri="{FF2B5EF4-FFF2-40B4-BE49-F238E27FC236}">
                <a16:creationId xmlns:a16="http://schemas.microsoft.com/office/drawing/2014/main" id="{AB62BBB2-98E7-47D7-8FAB-CDBB47D97F9B}"/>
              </a:ext>
            </a:extLst>
          </p:cNvPr>
          <p:cNvSpPr>
            <a:spLocks noGrp="1"/>
          </p:cNvSpPr>
          <p:nvPr>
            <p:ph type="body" sz="quarter" idx="17"/>
          </p:nvPr>
        </p:nvSpPr>
        <p:spPr/>
        <p:txBody>
          <a:bodyPr/>
          <a:lstStyle/>
          <a:p>
            <a:pPr algn="ctr"/>
            <a:r>
              <a:rPr lang="nl-NL" dirty="0">
                <a:solidFill>
                  <a:schemeClr val="tx1"/>
                </a:solidFill>
              </a:rPr>
              <a:t>Totale uitkering, </a:t>
            </a:r>
            <a:br>
              <a:rPr lang="nl-NL" dirty="0">
                <a:solidFill>
                  <a:schemeClr val="tx1"/>
                </a:solidFill>
              </a:rPr>
            </a:br>
            <a:r>
              <a:rPr lang="nl-NL" b="0" dirty="0">
                <a:solidFill>
                  <a:schemeClr val="tx1"/>
                </a:solidFill>
              </a:rPr>
              <a:t>2018 – 2020, € mrd</a:t>
            </a:r>
          </a:p>
        </p:txBody>
      </p:sp>
      <p:sp>
        <p:nvSpPr>
          <p:cNvPr id="22" name="Text Placeholder 21">
            <a:extLst>
              <a:ext uri="{FF2B5EF4-FFF2-40B4-BE49-F238E27FC236}">
                <a16:creationId xmlns:a16="http://schemas.microsoft.com/office/drawing/2014/main" id="{09A955BD-CCB5-4F66-B2F1-EDCA020BEAA7}"/>
              </a:ext>
            </a:extLst>
          </p:cNvPr>
          <p:cNvSpPr>
            <a:spLocks noGrp="1"/>
          </p:cNvSpPr>
          <p:nvPr>
            <p:ph type="body" sz="quarter" idx="18"/>
          </p:nvPr>
        </p:nvSpPr>
        <p:spPr/>
        <p:txBody>
          <a:bodyPr/>
          <a:lstStyle/>
          <a:p>
            <a:pPr algn="ctr"/>
            <a:r>
              <a:rPr lang="nl-NL" dirty="0"/>
              <a:t>Uitkering per inwoner, </a:t>
            </a:r>
            <a:br>
              <a:rPr lang="nl-NL" dirty="0"/>
            </a:br>
            <a:r>
              <a:rPr lang="nl-NL" b="0" dirty="0"/>
              <a:t>2018 – 2020, </a:t>
            </a:r>
            <a:r>
              <a:rPr lang="nl-NL" b="0" dirty="0">
                <a:solidFill>
                  <a:schemeClr val="tx1"/>
                </a:solidFill>
              </a:rPr>
              <a:t>€</a:t>
            </a:r>
            <a:r>
              <a:rPr lang="nl-NL" b="0" dirty="0"/>
              <a:t> ´000</a:t>
            </a:r>
          </a:p>
          <a:p>
            <a:pPr algn="ctr"/>
            <a:endParaRPr lang="nl-NL" dirty="0"/>
          </a:p>
        </p:txBody>
      </p:sp>
      <p:sp>
        <p:nvSpPr>
          <p:cNvPr id="23" name="Text Placeholder 22">
            <a:extLst>
              <a:ext uri="{FF2B5EF4-FFF2-40B4-BE49-F238E27FC236}">
                <a16:creationId xmlns:a16="http://schemas.microsoft.com/office/drawing/2014/main" id="{3F96BBB5-90CC-4BE8-A2C3-A971AD6876EA}"/>
              </a:ext>
            </a:extLst>
          </p:cNvPr>
          <p:cNvSpPr>
            <a:spLocks noGrp="1"/>
          </p:cNvSpPr>
          <p:nvPr>
            <p:ph type="body" sz="quarter" idx="19"/>
          </p:nvPr>
        </p:nvSpPr>
        <p:spPr/>
        <p:txBody>
          <a:bodyPr/>
          <a:lstStyle/>
          <a:p>
            <a:pPr algn="ctr"/>
            <a:r>
              <a:rPr lang="en-US" dirty="0" err="1"/>
              <a:t>Uitkering</a:t>
            </a:r>
            <a:r>
              <a:rPr lang="en-US" dirty="0"/>
              <a:t> per </a:t>
            </a:r>
            <a:r>
              <a:rPr lang="en-US" dirty="0" err="1"/>
              <a:t>inwoner</a:t>
            </a:r>
            <a:r>
              <a:rPr lang="en-US" dirty="0"/>
              <a:t> </a:t>
            </a:r>
            <a:r>
              <a:rPr lang="en-GB" dirty="0"/>
              <a:t>/ </a:t>
            </a:r>
            <a:br>
              <a:rPr lang="en-GB" dirty="0"/>
            </a:br>
            <a:r>
              <a:rPr lang="en-GB" dirty="0" err="1"/>
              <a:t>landelijk</a:t>
            </a:r>
            <a:r>
              <a:rPr lang="en-GB" dirty="0"/>
              <a:t> </a:t>
            </a:r>
            <a:r>
              <a:rPr lang="en-GB" dirty="0" err="1"/>
              <a:t>gemiddelde</a:t>
            </a:r>
            <a:r>
              <a:rPr lang="en-GB" dirty="0"/>
              <a:t>, </a:t>
            </a:r>
            <a:br>
              <a:rPr lang="en-GB" dirty="0"/>
            </a:br>
            <a:r>
              <a:rPr lang="en-GB" b="0" dirty="0"/>
              <a:t>2018 – 2020, % van </a:t>
            </a:r>
            <a:r>
              <a:rPr lang="en-GB" b="0" dirty="0" err="1"/>
              <a:t>landelijk</a:t>
            </a:r>
            <a:endParaRPr lang="nl-NL" b="0"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24" name="Text Placeholder 23">
            <a:extLst>
              <a:ext uri="{FF2B5EF4-FFF2-40B4-BE49-F238E27FC236}">
                <a16:creationId xmlns:a16="http://schemas.microsoft.com/office/drawing/2014/main" id="{DF077D87-865E-4433-AAE3-B2814BA14985}"/>
              </a:ext>
            </a:extLst>
          </p:cNvPr>
          <p:cNvSpPr>
            <a:spLocks noGrp="1"/>
          </p:cNvSpPr>
          <p:nvPr>
            <p:ph type="body" sz="quarter" idx="21"/>
          </p:nvPr>
        </p:nvSpPr>
        <p:spPr/>
        <p:txBody>
          <a:bodyPr/>
          <a:lstStyle/>
          <a:p>
            <a:endParaRPr lang="nl-NL"/>
          </a:p>
        </p:txBody>
      </p:sp>
      <p:graphicFrame>
        <p:nvGraphicFramePr>
          <p:cNvPr id="26" name="Google Shape;1850;p19">
            <a:extLst>
              <a:ext uri="{FF2B5EF4-FFF2-40B4-BE49-F238E27FC236}">
                <a16:creationId xmlns:a16="http://schemas.microsoft.com/office/drawing/2014/main" id="{DC3B7618-6B23-41A6-927F-7AC96B900567}"/>
              </a:ext>
            </a:extLst>
          </p:cNvPr>
          <p:cNvGraphicFramePr>
            <a:graphicFrameLocks noGrp="1"/>
          </p:cNvGraphicFramePr>
          <p:nvPr>
            <p:ph sz="quarter" idx="13"/>
            <p:extLst>
              <p:ext uri="{D42A27DB-BD31-4B8C-83A1-F6EECF244321}">
                <p14:modId xmlns:p14="http://schemas.microsoft.com/office/powerpoint/2010/main" val="975759590"/>
              </p:ext>
            </p:extLst>
          </p:nvPr>
        </p:nvGraphicFramePr>
        <p:xfrm>
          <a:off x="666750" y="2274409"/>
          <a:ext cx="3516313" cy="348631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7" name="Google Shape;1461;p6">
            <a:extLst>
              <a:ext uri="{FF2B5EF4-FFF2-40B4-BE49-F238E27FC236}">
                <a16:creationId xmlns:a16="http://schemas.microsoft.com/office/drawing/2014/main" id="{747301D9-9549-4D8D-9948-D78991C85514}"/>
              </a:ext>
            </a:extLst>
          </p:cNvPr>
          <p:cNvGraphicFramePr/>
          <p:nvPr>
            <p:extLst>
              <p:ext uri="{D42A27DB-BD31-4B8C-83A1-F6EECF244321}">
                <p14:modId xmlns:p14="http://schemas.microsoft.com/office/powerpoint/2010/main" val="178711202"/>
              </p:ext>
            </p:extLst>
          </p:nvPr>
        </p:nvGraphicFramePr>
        <p:xfrm>
          <a:off x="658812" y="6009437"/>
          <a:ext cx="3305400" cy="218300"/>
        </p:xfrm>
        <a:graphic>
          <a:graphicData uri="http://schemas.openxmlformats.org/drawingml/2006/table">
            <a:tbl>
              <a:tblPr>
                <a:noFill/>
              </a:tblPr>
              <a:tblGrid>
                <a:gridCol w="59525">
                  <a:extLst>
                    <a:ext uri="{9D8B030D-6E8A-4147-A177-3AD203B41FA5}">
                      <a16:colId xmlns:a16="http://schemas.microsoft.com/office/drawing/2014/main" val="20000"/>
                    </a:ext>
                  </a:extLst>
                </a:gridCol>
                <a:gridCol w="285075">
                  <a:extLst>
                    <a:ext uri="{9D8B030D-6E8A-4147-A177-3AD203B41FA5}">
                      <a16:colId xmlns:a16="http://schemas.microsoft.com/office/drawing/2014/main" val="20001"/>
                    </a:ext>
                  </a:extLst>
                </a:gridCol>
                <a:gridCol w="1231060">
                  <a:extLst>
                    <a:ext uri="{9D8B030D-6E8A-4147-A177-3AD203B41FA5}">
                      <a16:colId xmlns:a16="http://schemas.microsoft.com/office/drawing/2014/main" val="20002"/>
                    </a:ext>
                  </a:extLst>
                </a:gridCol>
                <a:gridCol w="287020">
                  <a:extLst>
                    <a:ext uri="{9D8B030D-6E8A-4147-A177-3AD203B41FA5}">
                      <a16:colId xmlns:a16="http://schemas.microsoft.com/office/drawing/2014/main" val="20003"/>
                    </a:ext>
                  </a:extLst>
                </a:gridCol>
                <a:gridCol w="1442720">
                  <a:extLst>
                    <a:ext uri="{9D8B030D-6E8A-4147-A177-3AD203B41FA5}">
                      <a16:colId xmlns:a16="http://schemas.microsoft.com/office/drawing/2014/main" val="20004"/>
                    </a:ext>
                  </a:extLst>
                </a:gridCol>
              </a:tblGrid>
              <a:tr h="214175">
                <a:tc>
                  <a:txBody>
                    <a:bodyPr/>
                    <a:lstStyle/>
                    <a:p>
                      <a:pPr marL="0" marR="0" lvl="0" indent="0" algn="l" rtl="0">
                        <a:spcBef>
                          <a:spcPts val="0"/>
                        </a:spcBef>
                        <a:spcAft>
                          <a:spcPts val="0"/>
                        </a:spcAft>
                        <a:buNone/>
                      </a:pPr>
                      <a:endParaRPr sz="200" dirty="0">
                        <a:solidFill>
                          <a:srgbClr val="000000"/>
                        </a:solidFill>
                      </a:endParaRPr>
                    </a:p>
                  </a:txBody>
                  <a:tcPr marL="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rgbClr val="22777B"/>
                    </a:solidFill>
                  </a:tcPr>
                </a:tc>
                <a:tc>
                  <a:txBody>
                    <a:bodyPr/>
                    <a:lstStyle/>
                    <a:p>
                      <a:pPr marL="0" marR="0" lvl="0" indent="0" algn="l" rtl="0">
                        <a:spcBef>
                          <a:spcPts val="0"/>
                        </a:spcBef>
                        <a:spcAft>
                          <a:spcPts val="0"/>
                        </a:spcAft>
                        <a:buNone/>
                      </a:pPr>
                      <a:r>
                        <a:rPr lang="nl-NL" sz="1000" dirty="0">
                          <a:solidFill>
                            <a:srgbClr val="000000"/>
                          </a:solidFill>
                        </a:rPr>
                        <a:t>Algemene uitkeringen</a:t>
                      </a:r>
                      <a:endParaRPr dirty="0"/>
                    </a:p>
                  </a:txBody>
                  <a:tcPr marL="3600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r>
                        <a:rPr lang="nl-NL" sz="1000" dirty="0">
                          <a:solidFill>
                            <a:srgbClr val="000000"/>
                          </a:solidFill>
                        </a:rPr>
                        <a:t>Aanvullende uitkeringen</a:t>
                      </a:r>
                      <a:endParaRPr dirty="0"/>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2" name="Google Shape;1850;p19">
            <a:extLst>
              <a:ext uri="{FF2B5EF4-FFF2-40B4-BE49-F238E27FC236}">
                <a16:creationId xmlns:a16="http://schemas.microsoft.com/office/drawing/2014/main" id="{290B1CB6-EC25-4FFB-8C11-488861F79AF8}"/>
              </a:ext>
            </a:extLst>
          </p:cNvPr>
          <p:cNvGraphicFramePr>
            <a:graphicFrameLocks noGrp="1"/>
          </p:cNvGraphicFramePr>
          <p:nvPr>
            <p:ph sz="quarter" idx="15"/>
            <p:extLst>
              <p:ext uri="{D42A27DB-BD31-4B8C-83A1-F6EECF244321}">
                <p14:modId xmlns:p14="http://schemas.microsoft.com/office/powerpoint/2010/main" val="3943867066"/>
              </p:ext>
            </p:extLst>
          </p:nvPr>
        </p:nvGraphicFramePr>
        <p:xfrm>
          <a:off x="4344988" y="2274409"/>
          <a:ext cx="3516312" cy="348631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9" name="Google Shape;1850;p19">
            <a:extLst>
              <a:ext uri="{FF2B5EF4-FFF2-40B4-BE49-F238E27FC236}">
                <a16:creationId xmlns:a16="http://schemas.microsoft.com/office/drawing/2014/main" id="{BB003A01-3EC1-4C08-957A-DAFCBAFB2FDB}"/>
              </a:ext>
            </a:extLst>
          </p:cNvPr>
          <p:cNvGraphicFramePr>
            <a:graphicFrameLocks/>
          </p:cNvGraphicFramePr>
          <p:nvPr>
            <p:extLst>
              <p:ext uri="{D42A27DB-BD31-4B8C-83A1-F6EECF244321}">
                <p14:modId xmlns:p14="http://schemas.microsoft.com/office/powerpoint/2010/main" val="1116196256"/>
              </p:ext>
            </p:extLst>
          </p:nvPr>
        </p:nvGraphicFramePr>
        <p:xfrm>
          <a:off x="8022251" y="2383041"/>
          <a:ext cx="3516312" cy="3377680"/>
        </p:xfrm>
        <a:graphic>
          <a:graphicData uri="http://schemas.openxmlformats.org/drawingml/2006/chart">
            <c:chart xmlns:c="http://schemas.openxmlformats.org/drawingml/2006/chart" xmlns:r="http://schemas.openxmlformats.org/officeDocument/2006/relationships" r:id="rId8"/>
          </a:graphicData>
        </a:graphic>
      </p:graphicFrame>
      <p:sp>
        <p:nvSpPr>
          <p:cNvPr id="17" name="Text Placeholder 8">
            <a:extLst>
              <a:ext uri="{FF2B5EF4-FFF2-40B4-BE49-F238E27FC236}">
                <a16:creationId xmlns:a16="http://schemas.microsoft.com/office/drawing/2014/main" id="{72001893-F9BD-47F4-BCB8-97A8E134D856}"/>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18 (stand feb 2019), Gemeentefonds 2019 (stand feb 2020), Gemeentefonds 2020 (stand mei 2020) , it’s public analyse</a:t>
            </a:r>
          </a:p>
        </p:txBody>
      </p:sp>
      <p:sp>
        <p:nvSpPr>
          <p:cNvPr id="19" name="Extra Title 2">
            <a:extLst>
              <a:ext uri="{FF2B5EF4-FFF2-40B4-BE49-F238E27FC236}">
                <a16:creationId xmlns:a16="http://schemas.microsoft.com/office/drawing/2014/main" id="{DAC83F46-AC2B-4946-9B87-B7C363A9E769}"/>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Sliedrecht</a:t>
            </a:r>
            <a:endParaRPr lang="nl-NL" sz="1200" dirty="0"/>
          </a:p>
        </p:txBody>
      </p:sp>
    </p:spTree>
    <p:extLst>
      <p:ext uri="{BB962C8B-B14F-4D97-AF65-F5344CB8AC3E}">
        <p14:creationId xmlns:p14="http://schemas.microsoft.com/office/powerpoint/2010/main" val="847012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31146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437136117"/>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0,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8,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8,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5,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5,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5,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6,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6,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5,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39,7</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1,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1,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Sliedrecht is ca. 42 mln (3/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3</a:t>
            </a:fld>
            <a:endParaRPr lang="nl-NL"/>
          </a:p>
        </p:txBody>
      </p:sp>
      <p:sp>
        <p:nvSpPr>
          <p:cNvPr id="9" name="Text Placeholder 8">
            <a:extLst>
              <a:ext uri="{FF2B5EF4-FFF2-40B4-BE49-F238E27FC236}">
                <a16:creationId xmlns:a16="http://schemas.microsoft.com/office/drawing/2014/main" id="{2776DEDA-3F09-4480-BB2A-35E12A3150D8}"/>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a:t>
            </a:r>
            <a:r>
              <a:rPr lang="nl-NL" b="0" dirty="0"/>
              <a:t>2020, €mln</a:t>
            </a:r>
          </a:p>
        </p:txBody>
      </p:sp>
      <p:sp>
        <p:nvSpPr>
          <p:cNvPr id="13" name="Text Placeholder 8">
            <a:extLst>
              <a:ext uri="{FF2B5EF4-FFF2-40B4-BE49-F238E27FC236}">
                <a16:creationId xmlns:a16="http://schemas.microsoft.com/office/drawing/2014/main" id="{7806D68A-05F7-4ED8-869D-13ACE9B9FF3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F0A09086-AECF-4BDE-9D6F-AE800CD08718}"/>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7ECD1A84-EE94-4F02-B578-3CD10730660E}"/>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Sliedrecht</a:t>
            </a:r>
            <a:endParaRPr lang="nl-NL" dirty="0"/>
          </a:p>
        </p:txBody>
      </p:sp>
      <p:sp>
        <p:nvSpPr>
          <p:cNvPr id="2" name="Rectangle 1">
            <a:extLst>
              <a:ext uri="{FF2B5EF4-FFF2-40B4-BE49-F238E27FC236}">
                <a16:creationId xmlns:a16="http://schemas.microsoft.com/office/drawing/2014/main" id="{AADCCC72-A6A8-4540-B891-C70028F24EC7}"/>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Rectangle 13">
            <a:extLst>
              <a:ext uri="{FF2B5EF4-FFF2-40B4-BE49-F238E27FC236}">
                <a16:creationId xmlns:a16="http://schemas.microsoft.com/office/drawing/2014/main" id="{32B58E8C-CF98-4A4A-A470-A60675560A79}"/>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16214242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119648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309058648"/>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76,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65,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7,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58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66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66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75,4</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Per inwoner ontvangt Sliedrecht ca. 1.665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4</a:t>
            </a:fld>
            <a:endParaRPr lang="nl-NL"/>
          </a:p>
        </p:txBody>
      </p:sp>
      <p:sp>
        <p:nvSpPr>
          <p:cNvPr id="6" name="Text Placeholder 5">
            <a:extLst>
              <a:ext uri="{FF2B5EF4-FFF2-40B4-BE49-F238E27FC236}">
                <a16:creationId xmlns:a16="http://schemas.microsoft.com/office/drawing/2014/main" id="{C03FA961-B4AF-4D23-8DF6-D8BD6BE70D8F}"/>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7" name="Text Placeholder 8">
            <a:extLst>
              <a:ext uri="{FF2B5EF4-FFF2-40B4-BE49-F238E27FC236}">
                <a16:creationId xmlns:a16="http://schemas.microsoft.com/office/drawing/2014/main" id="{346BE962-A552-4099-921C-F4F8D433B3A0}"/>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9417A438-7A5B-4D5F-BD83-E4EA6C9BF1DD}"/>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3" name="Extra Title 2">
            <a:extLst>
              <a:ext uri="{FF2B5EF4-FFF2-40B4-BE49-F238E27FC236}">
                <a16:creationId xmlns:a16="http://schemas.microsoft.com/office/drawing/2014/main" id="{B04B18D0-AB8C-4632-B02C-8BD5FB6C5191}"/>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Sliedrecht</a:t>
            </a:r>
            <a:endParaRPr lang="nl-NL" dirty="0"/>
          </a:p>
        </p:txBody>
      </p:sp>
      <p:sp>
        <p:nvSpPr>
          <p:cNvPr id="14" name="Rectangle 13">
            <a:extLst>
              <a:ext uri="{FF2B5EF4-FFF2-40B4-BE49-F238E27FC236}">
                <a16:creationId xmlns:a16="http://schemas.microsoft.com/office/drawing/2014/main" id="{82CCB8B6-C2A4-495C-93E6-F625B2392CCB}"/>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6" name="Rectangle 15">
            <a:extLst>
              <a:ext uri="{FF2B5EF4-FFF2-40B4-BE49-F238E27FC236}">
                <a16:creationId xmlns:a16="http://schemas.microsoft.com/office/drawing/2014/main" id="{FDF7E7A6-8FDB-468B-9642-C2716F9EC433}"/>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21702771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559108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682710256"/>
              </p:ext>
            </p:extLst>
          </p:nvPr>
        </p:nvGraphicFramePr>
        <p:xfrm>
          <a:off x="705466" y="1592263"/>
          <a:ext cx="10959285" cy="4716465"/>
        </p:xfrm>
        <a:graphic>
          <a:graphicData uri="http://schemas.openxmlformats.org/drawingml/2006/table">
            <a:tbl>
              <a:tblPr firstRow="1" bandRow="1">
                <a:tableStyleId>{5C22544A-7EE6-4342-B048-85BDC9FD1C3A}</a:tableStyleId>
              </a:tblPr>
              <a:tblGrid>
                <a:gridCol w="4500000">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Sliedrecht</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kern="1200">
                          <a:solidFill>
                            <a:srgbClr val="595959"/>
                          </a:solidFill>
                          <a:effectLst/>
                          <a:latin typeface="+mn-lt"/>
                          <a:ea typeface="+mn-ea"/>
                          <a:cs typeface="+mn-cs"/>
                        </a:rPr>
                        <a:t>Aanvullende uitkeringen (ongealloceerde deel)</a:t>
                      </a:r>
                      <a:endParaRPr lang="en-GB" sz="1100" b="0" i="0" u="none" strike="noStrike" kern="1200" dirty="0">
                        <a:solidFill>
                          <a:srgbClr val="595959"/>
                        </a:solidFill>
                        <a:effectLst/>
                        <a:latin typeface="+mn-lt"/>
                        <a:ea typeface="+mn-ea"/>
                        <a:cs typeface="+mn-cs"/>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665</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73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7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0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Dit is ca. 73 euro minder dan de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5</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3" name="Rectangle 12">
            <a:extLst>
              <a:ext uri="{FF2B5EF4-FFF2-40B4-BE49-F238E27FC236}">
                <a16:creationId xmlns:a16="http://schemas.microsoft.com/office/drawing/2014/main" id="{CB9E6BB2-47B0-47CC-B08B-B5632C6287F6}"/>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CAD5ABB7-B955-4A99-B5D6-5AE2940CA29B}"/>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Sliedrecht</a:t>
            </a:r>
            <a:endParaRPr lang="nl-NL" dirty="0"/>
          </a:p>
        </p:txBody>
      </p:sp>
      <p:sp>
        <p:nvSpPr>
          <p:cNvPr id="14" name="Rectangle 13">
            <a:extLst>
              <a:ext uri="{FF2B5EF4-FFF2-40B4-BE49-F238E27FC236}">
                <a16:creationId xmlns:a16="http://schemas.microsoft.com/office/drawing/2014/main" id="{5ED15281-D2E8-4C6E-98CD-DE90CCAEAD75}"/>
              </a:ext>
            </a:extLst>
          </p:cNvPr>
          <p:cNvSpPr/>
          <p:nvPr/>
        </p:nvSpPr>
        <p:spPr>
          <a:xfrm>
            <a:off x="690067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7" name="Rectangle 16">
            <a:extLst>
              <a:ext uri="{FF2B5EF4-FFF2-40B4-BE49-F238E27FC236}">
                <a16:creationId xmlns:a16="http://schemas.microsoft.com/office/drawing/2014/main" id="{EF3BF06A-296E-47DE-ADD6-9C5D5A940484}"/>
              </a:ext>
            </a:extLst>
          </p:cNvPr>
          <p:cNvSpPr/>
          <p:nvPr/>
        </p:nvSpPr>
        <p:spPr>
          <a:xfrm>
            <a:off x="941222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5612914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grpSp>
        <p:nvGrpSpPr>
          <p:cNvPr id="39" name="Group 38">
            <a:extLst>
              <a:ext uri="{FF2B5EF4-FFF2-40B4-BE49-F238E27FC236}">
                <a16:creationId xmlns:a16="http://schemas.microsoft.com/office/drawing/2014/main" id="{780903F2-BEDC-464A-B870-D35DAF88BCCD}"/>
              </a:ext>
            </a:extLst>
          </p:cNvPr>
          <p:cNvGrpSpPr/>
          <p:nvPr/>
        </p:nvGrpSpPr>
        <p:grpSpPr>
          <a:xfrm>
            <a:off x="1302135" y="3038297"/>
            <a:ext cx="2330467" cy="2657896"/>
            <a:chOff x="658812" y="3038297"/>
            <a:chExt cx="2535801" cy="2657896"/>
          </a:xfrm>
        </p:grpSpPr>
        <p:sp>
          <p:nvSpPr>
            <p:cNvPr id="40" name="Text Placeholder 5">
              <a:hlinkClick r:id="rId11" action="ppaction://hlinksldjump"/>
              <a:extLst>
                <a:ext uri="{FF2B5EF4-FFF2-40B4-BE49-F238E27FC236}">
                  <a16:creationId xmlns:a16="http://schemas.microsoft.com/office/drawing/2014/main" id="{05D5BD13-AD76-49BD-87F9-3A6B6DF2C7DE}"/>
                </a:ext>
              </a:extLst>
            </p:cNvPr>
            <p:cNvSpPr txBox="1">
              <a:spLocks/>
            </p:cNvSpPr>
            <p:nvPr/>
          </p:nvSpPr>
          <p:spPr>
            <a:xfrm>
              <a:off x="65881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41" name="Text Placeholder 5">
              <a:hlinkClick r:id="rId12" action="ppaction://hlinksldjump"/>
              <a:extLst>
                <a:ext uri="{FF2B5EF4-FFF2-40B4-BE49-F238E27FC236}">
                  <a16:creationId xmlns:a16="http://schemas.microsoft.com/office/drawing/2014/main" id="{058F48B9-1DA9-44F6-A968-DAB4DD979AB6}"/>
                </a:ext>
              </a:extLst>
            </p:cNvPr>
            <p:cNvSpPr txBox="1">
              <a:spLocks/>
            </p:cNvSpPr>
            <p:nvPr/>
          </p:nvSpPr>
          <p:spPr>
            <a:xfrm>
              <a:off x="65881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42" name="Text Placeholder 5">
              <a:hlinkClick r:id="rId13" action="ppaction://hlinksldjump"/>
              <a:extLst>
                <a:ext uri="{FF2B5EF4-FFF2-40B4-BE49-F238E27FC236}">
                  <a16:creationId xmlns:a16="http://schemas.microsoft.com/office/drawing/2014/main" id="{4C1BB12B-DBD8-4865-9140-9F3D31018CD5}"/>
                </a:ext>
              </a:extLst>
            </p:cNvPr>
            <p:cNvSpPr txBox="1">
              <a:spLocks/>
            </p:cNvSpPr>
            <p:nvPr/>
          </p:nvSpPr>
          <p:spPr>
            <a:xfrm>
              <a:off x="65881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43" name="Text Placeholder 5">
              <a:hlinkClick r:id="rId14" action="ppaction://hlinksldjump"/>
              <a:extLst>
                <a:ext uri="{FF2B5EF4-FFF2-40B4-BE49-F238E27FC236}">
                  <a16:creationId xmlns:a16="http://schemas.microsoft.com/office/drawing/2014/main" id="{E2E6DD46-33E1-4261-A6B7-6548FEA8BF5A}"/>
                </a:ext>
              </a:extLst>
            </p:cNvPr>
            <p:cNvSpPr txBox="1">
              <a:spLocks/>
            </p:cNvSpPr>
            <p:nvPr/>
          </p:nvSpPr>
          <p:spPr>
            <a:xfrm>
              <a:off x="65881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grpSp>
      <p:grpSp>
        <p:nvGrpSpPr>
          <p:cNvPr id="44" name="Group 43">
            <a:extLst>
              <a:ext uri="{FF2B5EF4-FFF2-40B4-BE49-F238E27FC236}">
                <a16:creationId xmlns:a16="http://schemas.microsoft.com/office/drawing/2014/main" id="{0D88642D-971A-420F-BE14-EF96582C0F64}"/>
              </a:ext>
            </a:extLst>
          </p:cNvPr>
          <p:cNvGrpSpPr/>
          <p:nvPr/>
        </p:nvGrpSpPr>
        <p:grpSpPr>
          <a:xfrm>
            <a:off x="3755089" y="3038297"/>
            <a:ext cx="2330467" cy="2657896"/>
            <a:chOff x="3459884" y="3038297"/>
            <a:chExt cx="2535801" cy="2657896"/>
          </a:xfrm>
        </p:grpSpPr>
        <p:sp>
          <p:nvSpPr>
            <p:cNvPr id="45" name="Text Placeholder 5">
              <a:hlinkClick r:id="rId15" action="ppaction://hlinksldjump"/>
              <a:extLst>
                <a:ext uri="{FF2B5EF4-FFF2-40B4-BE49-F238E27FC236}">
                  <a16:creationId xmlns:a16="http://schemas.microsoft.com/office/drawing/2014/main" id="{B3AEF7C6-7568-4DA2-96D1-33FDC464F43E}"/>
                </a:ext>
              </a:extLst>
            </p:cNvPr>
            <p:cNvSpPr txBox="1">
              <a:spLocks/>
            </p:cNvSpPr>
            <p:nvPr/>
          </p:nvSpPr>
          <p:spPr>
            <a:xfrm>
              <a:off x="3459884"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46" name="Text Placeholder 5">
              <a:hlinkClick r:id="rId16" action="ppaction://hlinksldjump"/>
              <a:extLst>
                <a:ext uri="{FF2B5EF4-FFF2-40B4-BE49-F238E27FC236}">
                  <a16:creationId xmlns:a16="http://schemas.microsoft.com/office/drawing/2014/main" id="{9B625DCF-37EE-48B2-A16F-B9440D679093}"/>
                </a:ext>
              </a:extLst>
            </p:cNvPr>
            <p:cNvSpPr txBox="1">
              <a:spLocks/>
            </p:cNvSpPr>
            <p:nvPr/>
          </p:nvSpPr>
          <p:spPr>
            <a:xfrm>
              <a:off x="3459884"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47" name="Text Placeholder 5">
              <a:hlinkClick r:id="rId17" action="ppaction://hlinksldjump"/>
              <a:extLst>
                <a:ext uri="{FF2B5EF4-FFF2-40B4-BE49-F238E27FC236}">
                  <a16:creationId xmlns:a16="http://schemas.microsoft.com/office/drawing/2014/main" id="{2C97B7A5-9661-44AA-B4AE-99CC2878ECE4}"/>
                </a:ext>
              </a:extLst>
            </p:cNvPr>
            <p:cNvSpPr txBox="1">
              <a:spLocks/>
            </p:cNvSpPr>
            <p:nvPr/>
          </p:nvSpPr>
          <p:spPr>
            <a:xfrm>
              <a:off x="3459884"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48" name="Text Placeholder 5">
              <a:hlinkClick r:id="rId18" action="ppaction://hlinksldjump"/>
              <a:extLst>
                <a:ext uri="{FF2B5EF4-FFF2-40B4-BE49-F238E27FC236}">
                  <a16:creationId xmlns:a16="http://schemas.microsoft.com/office/drawing/2014/main" id="{AB6E2FB9-4EE1-4C10-9D70-D956B73A49CA}"/>
                </a:ext>
              </a:extLst>
            </p:cNvPr>
            <p:cNvSpPr txBox="1">
              <a:spLocks/>
            </p:cNvSpPr>
            <p:nvPr/>
          </p:nvSpPr>
          <p:spPr>
            <a:xfrm>
              <a:off x="3459884"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grpSp>
      <p:grpSp>
        <p:nvGrpSpPr>
          <p:cNvPr id="49" name="Group 48">
            <a:extLst>
              <a:ext uri="{FF2B5EF4-FFF2-40B4-BE49-F238E27FC236}">
                <a16:creationId xmlns:a16="http://schemas.microsoft.com/office/drawing/2014/main" id="{3C2DF392-6364-45D3-ADF2-0A753B71424B}"/>
              </a:ext>
            </a:extLst>
          </p:cNvPr>
          <p:cNvGrpSpPr/>
          <p:nvPr/>
        </p:nvGrpSpPr>
        <p:grpSpPr>
          <a:xfrm>
            <a:off x="6222285" y="3038297"/>
            <a:ext cx="2330467" cy="2657896"/>
            <a:chOff x="6247842" y="3038297"/>
            <a:chExt cx="2535801" cy="2657896"/>
          </a:xfrm>
        </p:grpSpPr>
        <p:sp>
          <p:nvSpPr>
            <p:cNvPr id="50" name="Text Placeholder 5">
              <a:hlinkClick r:id="rId19" action="ppaction://hlinksldjump"/>
              <a:extLst>
                <a:ext uri="{FF2B5EF4-FFF2-40B4-BE49-F238E27FC236}">
                  <a16:creationId xmlns:a16="http://schemas.microsoft.com/office/drawing/2014/main" id="{E65B7F8C-C521-4113-AE88-F82719AE50E9}"/>
                </a:ext>
              </a:extLst>
            </p:cNvPr>
            <p:cNvSpPr txBox="1">
              <a:spLocks/>
            </p:cNvSpPr>
            <p:nvPr/>
          </p:nvSpPr>
          <p:spPr>
            <a:xfrm>
              <a:off x="624784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51" name="Text Placeholder 5">
              <a:hlinkClick r:id="rId20" action="ppaction://hlinksldjump"/>
              <a:extLst>
                <a:ext uri="{FF2B5EF4-FFF2-40B4-BE49-F238E27FC236}">
                  <a16:creationId xmlns:a16="http://schemas.microsoft.com/office/drawing/2014/main" id="{5AC7DF45-5940-4E1B-8B85-DD6E35C988A6}"/>
                </a:ext>
              </a:extLst>
            </p:cNvPr>
            <p:cNvSpPr txBox="1">
              <a:spLocks/>
            </p:cNvSpPr>
            <p:nvPr/>
          </p:nvSpPr>
          <p:spPr>
            <a:xfrm>
              <a:off x="624784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52" name="Text Placeholder 5">
              <a:hlinkClick r:id="rId21" action="ppaction://hlinksldjump"/>
              <a:extLst>
                <a:ext uri="{FF2B5EF4-FFF2-40B4-BE49-F238E27FC236}">
                  <a16:creationId xmlns:a16="http://schemas.microsoft.com/office/drawing/2014/main" id="{02748EAB-9BA2-4BC3-B935-1FF8A8EE9801}"/>
                </a:ext>
              </a:extLst>
            </p:cNvPr>
            <p:cNvSpPr txBox="1">
              <a:spLocks/>
            </p:cNvSpPr>
            <p:nvPr/>
          </p:nvSpPr>
          <p:spPr>
            <a:xfrm>
              <a:off x="624784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53" name="Text Placeholder 5">
              <a:hlinkClick r:id="rId22" action="ppaction://hlinksldjump"/>
              <a:extLst>
                <a:ext uri="{FF2B5EF4-FFF2-40B4-BE49-F238E27FC236}">
                  <a16:creationId xmlns:a16="http://schemas.microsoft.com/office/drawing/2014/main" id="{AA98B47F-99AE-4080-ACD8-2DCB1C8B0008}"/>
                </a:ext>
              </a:extLst>
            </p:cNvPr>
            <p:cNvSpPr txBox="1">
              <a:spLocks/>
            </p:cNvSpPr>
            <p:nvPr/>
          </p:nvSpPr>
          <p:spPr>
            <a:xfrm>
              <a:off x="624784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grpSp>
      <p:pic>
        <p:nvPicPr>
          <p:cNvPr id="55" name="Graphic 54" descr="Cheers">
            <a:extLst>
              <a:ext uri="{FF2B5EF4-FFF2-40B4-BE49-F238E27FC236}">
                <a16:creationId xmlns:a16="http://schemas.microsoft.com/office/drawing/2014/main" id="{61C857AB-2F0A-495A-853E-7822320F822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56" name="Group 55">
            <a:extLst>
              <a:ext uri="{FF2B5EF4-FFF2-40B4-BE49-F238E27FC236}">
                <a16:creationId xmlns:a16="http://schemas.microsoft.com/office/drawing/2014/main" id="{00F4C27C-D8E5-42F5-8180-7C5D0F1570EB}"/>
              </a:ext>
            </a:extLst>
          </p:cNvPr>
          <p:cNvGrpSpPr/>
          <p:nvPr/>
        </p:nvGrpSpPr>
        <p:grpSpPr>
          <a:xfrm>
            <a:off x="3083663" y="5154553"/>
            <a:ext cx="516400" cy="424444"/>
            <a:chOff x="3989323" y="3736601"/>
            <a:chExt cx="1325822" cy="1089730"/>
          </a:xfrm>
        </p:grpSpPr>
        <p:pic>
          <p:nvPicPr>
            <p:cNvPr id="57" name="Graphic 56" descr="School girl">
              <a:extLst>
                <a:ext uri="{FF2B5EF4-FFF2-40B4-BE49-F238E27FC236}">
                  <a16:creationId xmlns:a16="http://schemas.microsoft.com/office/drawing/2014/main" id="{FEA79DED-9FAF-4009-98CE-EF918CB4D5C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58" name="Graphic 57" descr="School boy">
              <a:extLst>
                <a:ext uri="{FF2B5EF4-FFF2-40B4-BE49-F238E27FC236}">
                  <a16:creationId xmlns:a16="http://schemas.microsoft.com/office/drawing/2014/main" id="{0A08C635-87D3-4627-A890-79652B3BEEC1}"/>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59" name="Content Placeholder 155" descr="Care">
            <a:extLst>
              <a:ext uri="{FF2B5EF4-FFF2-40B4-BE49-F238E27FC236}">
                <a16:creationId xmlns:a16="http://schemas.microsoft.com/office/drawing/2014/main" id="{D9F02861-826A-4044-A9E7-32BE9C668BC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60" name="Content Placeholder 12" descr="Classroom">
            <a:extLst>
              <a:ext uri="{FF2B5EF4-FFF2-40B4-BE49-F238E27FC236}">
                <a16:creationId xmlns:a16="http://schemas.microsoft.com/office/drawing/2014/main" id="{DEC3A6D5-C160-4277-9B05-2D5275BC21D0}"/>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61" name="Graphic 60" descr="Heart with pulse">
            <a:extLst>
              <a:ext uri="{FF2B5EF4-FFF2-40B4-BE49-F238E27FC236}">
                <a16:creationId xmlns:a16="http://schemas.microsoft.com/office/drawing/2014/main" id="{1E72B948-DB7F-45F8-A4E6-EA2A885198D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62" name="Graphic 61" descr="Ticket">
            <a:extLst>
              <a:ext uri="{FF2B5EF4-FFF2-40B4-BE49-F238E27FC236}">
                <a16:creationId xmlns:a16="http://schemas.microsoft.com/office/drawing/2014/main" id="{1217381B-A402-41D9-9B51-6B871AB6446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63" name="Group 62">
            <a:extLst>
              <a:ext uri="{FF2B5EF4-FFF2-40B4-BE49-F238E27FC236}">
                <a16:creationId xmlns:a16="http://schemas.microsoft.com/office/drawing/2014/main" id="{2298A857-CA9E-47BB-911E-784731164C20}"/>
              </a:ext>
            </a:extLst>
          </p:cNvPr>
          <p:cNvGrpSpPr/>
          <p:nvPr/>
        </p:nvGrpSpPr>
        <p:grpSpPr>
          <a:xfrm>
            <a:off x="7928944" y="3114020"/>
            <a:ext cx="512592" cy="404684"/>
            <a:chOff x="4649729" y="2872903"/>
            <a:chExt cx="1158226" cy="914400"/>
          </a:xfrm>
        </p:grpSpPr>
        <p:pic>
          <p:nvPicPr>
            <p:cNvPr id="64" name="Graphic 63" descr="Excavator">
              <a:extLst>
                <a:ext uri="{FF2B5EF4-FFF2-40B4-BE49-F238E27FC236}">
                  <a16:creationId xmlns:a16="http://schemas.microsoft.com/office/drawing/2014/main" id="{F71BA388-1964-4F3F-8262-287B07E6FE8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65" name="Graphic 64" descr="Neighborhood">
              <a:extLst>
                <a:ext uri="{FF2B5EF4-FFF2-40B4-BE49-F238E27FC236}">
                  <a16:creationId xmlns:a16="http://schemas.microsoft.com/office/drawing/2014/main" id="{9717EFBA-85C9-4E83-8E85-60A810ACEC53}"/>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66" name="Graphic 65" descr="Mop and bucket">
            <a:extLst>
              <a:ext uri="{FF2B5EF4-FFF2-40B4-BE49-F238E27FC236}">
                <a16:creationId xmlns:a16="http://schemas.microsoft.com/office/drawing/2014/main" id="{FCE8729E-AA37-43D7-9B2F-62E5D95AD28E}"/>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67" name="Graphic 66" descr="Shield Tick">
            <a:extLst>
              <a:ext uri="{FF2B5EF4-FFF2-40B4-BE49-F238E27FC236}">
                <a16:creationId xmlns:a16="http://schemas.microsoft.com/office/drawing/2014/main" id="{E5D0A0E1-E180-4DF1-BCC0-4B5A13C407A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68" name="Graphic 67" descr="Board Of Directors">
            <a:extLst>
              <a:ext uri="{FF2B5EF4-FFF2-40B4-BE49-F238E27FC236}">
                <a16:creationId xmlns:a16="http://schemas.microsoft.com/office/drawing/2014/main" id="{E0769FB4-3E25-49D6-831D-669E065F8D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70" name="Graphic 69" descr="Coins">
            <a:extLst>
              <a:ext uri="{FF2B5EF4-FFF2-40B4-BE49-F238E27FC236}">
                <a16:creationId xmlns:a16="http://schemas.microsoft.com/office/drawing/2014/main" id="{193FAF86-58A5-498A-9693-4D67AD38A635}"/>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71" name="Graphic 70" descr="Loan">
            <a:extLst>
              <a:ext uri="{FF2B5EF4-FFF2-40B4-BE49-F238E27FC236}">
                <a16:creationId xmlns:a16="http://schemas.microsoft.com/office/drawing/2014/main" id="{6B8C5481-3F63-4823-9C1B-9567955D123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
        <p:nvSpPr>
          <p:cNvPr id="72" name="Title 4">
            <a:hlinkClick r:id="rId51"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14103716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74" name="Text Placeholder 5">
            <a:hlinkClick r:id="rId11" action="ppaction://hlinksldjump"/>
            <a:extLst>
              <a:ext uri="{FF2B5EF4-FFF2-40B4-BE49-F238E27FC236}">
                <a16:creationId xmlns:a16="http://schemas.microsoft.com/office/drawing/2014/main" id="{C7DD4170-CED8-40C8-B3B7-CA63FAB28C68}"/>
              </a:ext>
            </a:extLst>
          </p:cNvPr>
          <p:cNvSpPr txBox="1">
            <a:spLocks/>
          </p:cNvSpPr>
          <p:nvPr/>
        </p:nvSpPr>
        <p:spPr>
          <a:xfrm>
            <a:off x="130213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igen middelen</a:t>
            </a:r>
          </a:p>
        </p:txBody>
      </p:sp>
      <p:sp>
        <p:nvSpPr>
          <p:cNvPr id="75" name="Text Placeholder 5">
            <a:hlinkClick r:id="rId12" action="ppaction://hlinksldjump"/>
            <a:extLst>
              <a:ext uri="{FF2B5EF4-FFF2-40B4-BE49-F238E27FC236}">
                <a16:creationId xmlns:a16="http://schemas.microsoft.com/office/drawing/2014/main" id="{D47C3229-629B-47D6-9CED-1B1212319199}"/>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76" name="Text Placeholder 5">
            <a:hlinkClick r:id="rId13" action="ppaction://hlinksldjump"/>
            <a:extLst>
              <a:ext uri="{FF2B5EF4-FFF2-40B4-BE49-F238E27FC236}">
                <a16:creationId xmlns:a16="http://schemas.microsoft.com/office/drawing/2014/main" id="{EF137A5C-D7FC-4966-83E7-F86CD1A81524}"/>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77" name="Text Placeholder 5">
            <a:hlinkClick r:id="rId14" action="ppaction://hlinksldjump"/>
            <a:extLst>
              <a:ext uri="{FF2B5EF4-FFF2-40B4-BE49-F238E27FC236}">
                <a16:creationId xmlns:a16="http://schemas.microsoft.com/office/drawing/2014/main" id="{8D376669-2F7F-406C-B493-E55838212127}"/>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79" name="Text Placeholder 5">
            <a:hlinkClick r:id="rId15" action="ppaction://hlinksldjump"/>
            <a:extLst>
              <a:ext uri="{FF2B5EF4-FFF2-40B4-BE49-F238E27FC236}">
                <a16:creationId xmlns:a16="http://schemas.microsoft.com/office/drawing/2014/main" id="{C61C3E16-3DE7-4172-82A1-48ECC21A5977}"/>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80" name="Text Placeholder 5">
            <a:hlinkClick r:id="rId16" action="ppaction://hlinksldjump"/>
            <a:extLst>
              <a:ext uri="{FF2B5EF4-FFF2-40B4-BE49-F238E27FC236}">
                <a16:creationId xmlns:a16="http://schemas.microsoft.com/office/drawing/2014/main" id="{7EE21672-399D-4E97-9A31-304C3298588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81" name="Text Placeholder 5">
            <a:hlinkClick r:id="rId17" action="ppaction://hlinksldjump"/>
            <a:extLst>
              <a:ext uri="{FF2B5EF4-FFF2-40B4-BE49-F238E27FC236}">
                <a16:creationId xmlns:a16="http://schemas.microsoft.com/office/drawing/2014/main" id="{7BFCD0C0-7E25-4C96-BDA5-C1BE1BD4AB53}"/>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82" name="Text Placeholder 5">
            <a:hlinkClick r:id="rId18" action="ppaction://hlinksldjump"/>
            <a:extLst>
              <a:ext uri="{FF2B5EF4-FFF2-40B4-BE49-F238E27FC236}">
                <a16:creationId xmlns:a16="http://schemas.microsoft.com/office/drawing/2014/main" id="{65E47941-EA52-4401-B07D-02B26D342FA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84" name="Text Placeholder 5">
            <a:hlinkClick r:id="rId19" action="ppaction://hlinksldjump"/>
            <a:extLst>
              <a:ext uri="{FF2B5EF4-FFF2-40B4-BE49-F238E27FC236}">
                <a16:creationId xmlns:a16="http://schemas.microsoft.com/office/drawing/2014/main" id="{A5F681F7-66F3-48D6-A321-50CE4D8D446C}"/>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85" name="Text Placeholder 5">
            <a:hlinkClick r:id="rId20" action="ppaction://hlinksldjump"/>
            <a:extLst>
              <a:ext uri="{FF2B5EF4-FFF2-40B4-BE49-F238E27FC236}">
                <a16:creationId xmlns:a16="http://schemas.microsoft.com/office/drawing/2014/main" id="{63270438-9D92-4141-9AAE-3FC5E2271B3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86" name="Text Placeholder 5">
            <a:hlinkClick r:id="rId21" action="ppaction://hlinksldjump"/>
            <a:extLst>
              <a:ext uri="{FF2B5EF4-FFF2-40B4-BE49-F238E27FC236}">
                <a16:creationId xmlns:a16="http://schemas.microsoft.com/office/drawing/2014/main" id="{34EFB318-77AA-4CF5-B1D1-A55F7F2603F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87" name="Text Placeholder 5">
            <a:hlinkClick r:id="rId22" action="ppaction://hlinksldjump"/>
            <a:extLst>
              <a:ext uri="{FF2B5EF4-FFF2-40B4-BE49-F238E27FC236}">
                <a16:creationId xmlns:a16="http://schemas.microsoft.com/office/drawing/2014/main" id="{A3CD9627-3B0A-480A-9A19-73EFFC67D22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89" name="Graphic 88" descr="Cheers">
            <a:extLst>
              <a:ext uri="{FF2B5EF4-FFF2-40B4-BE49-F238E27FC236}">
                <a16:creationId xmlns:a16="http://schemas.microsoft.com/office/drawing/2014/main" id="{57A7694E-8843-443A-9C2C-7135D30AB6EA}"/>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90" name="Group 89">
            <a:extLst>
              <a:ext uri="{FF2B5EF4-FFF2-40B4-BE49-F238E27FC236}">
                <a16:creationId xmlns:a16="http://schemas.microsoft.com/office/drawing/2014/main" id="{3FB073E4-CAFA-4FF4-9D57-05FF75F39265}"/>
              </a:ext>
            </a:extLst>
          </p:cNvPr>
          <p:cNvGrpSpPr/>
          <p:nvPr/>
        </p:nvGrpSpPr>
        <p:grpSpPr>
          <a:xfrm>
            <a:off x="3083663" y="5154553"/>
            <a:ext cx="516400" cy="424444"/>
            <a:chOff x="3989323" y="3736601"/>
            <a:chExt cx="1325822" cy="1089730"/>
          </a:xfrm>
        </p:grpSpPr>
        <p:pic>
          <p:nvPicPr>
            <p:cNvPr id="91" name="Graphic 90" descr="School girl">
              <a:extLst>
                <a:ext uri="{FF2B5EF4-FFF2-40B4-BE49-F238E27FC236}">
                  <a16:creationId xmlns:a16="http://schemas.microsoft.com/office/drawing/2014/main" id="{B63C83F6-671A-4254-B39B-2FF173B0B75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92" name="Graphic 91" descr="School boy">
              <a:extLst>
                <a:ext uri="{FF2B5EF4-FFF2-40B4-BE49-F238E27FC236}">
                  <a16:creationId xmlns:a16="http://schemas.microsoft.com/office/drawing/2014/main" id="{13EEC5F6-A040-44E7-A502-385F1202D1E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93" name="Content Placeholder 155" descr="Care">
            <a:extLst>
              <a:ext uri="{FF2B5EF4-FFF2-40B4-BE49-F238E27FC236}">
                <a16:creationId xmlns:a16="http://schemas.microsoft.com/office/drawing/2014/main" id="{26DDF484-B423-419F-97BD-01A0509ABFDC}"/>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94" name="Content Placeholder 12" descr="Classroom">
            <a:extLst>
              <a:ext uri="{FF2B5EF4-FFF2-40B4-BE49-F238E27FC236}">
                <a16:creationId xmlns:a16="http://schemas.microsoft.com/office/drawing/2014/main" id="{5B31989F-AD44-46A3-99A2-D83666C22EA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95" name="Graphic 94" descr="Heart with pulse">
            <a:extLst>
              <a:ext uri="{FF2B5EF4-FFF2-40B4-BE49-F238E27FC236}">
                <a16:creationId xmlns:a16="http://schemas.microsoft.com/office/drawing/2014/main" id="{13ABBA40-0FA7-4BD6-B8F8-B075F2DD004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96" name="Graphic 95" descr="Ticket">
            <a:extLst>
              <a:ext uri="{FF2B5EF4-FFF2-40B4-BE49-F238E27FC236}">
                <a16:creationId xmlns:a16="http://schemas.microsoft.com/office/drawing/2014/main" id="{347D2902-F647-452A-9C8C-86991C487D9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97" name="Group 96">
            <a:extLst>
              <a:ext uri="{FF2B5EF4-FFF2-40B4-BE49-F238E27FC236}">
                <a16:creationId xmlns:a16="http://schemas.microsoft.com/office/drawing/2014/main" id="{5AB408A3-C4F7-4181-8396-AB6DD607A5AE}"/>
              </a:ext>
            </a:extLst>
          </p:cNvPr>
          <p:cNvGrpSpPr/>
          <p:nvPr/>
        </p:nvGrpSpPr>
        <p:grpSpPr>
          <a:xfrm>
            <a:off x="7928944" y="3114020"/>
            <a:ext cx="512592" cy="404684"/>
            <a:chOff x="4649729" y="2872903"/>
            <a:chExt cx="1158226" cy="914400"/>
          </a:xfrm>
        </p:grpSpPr>
        <p:pic>
          <p:nvPicPr>
            <p:cNvPr id="98" name="Graphic 97" descr="Excavator">
              <a:extLst>
                <a:ext uri="{FF2B5EF4-FFF2-40B4-BE49-F238E27FC236}">
                  <a16:creationId xmlns:a16="http://schemas.microsoft.com/office/drawing/2014/main" id="{A31170A3-F9A5-43DF-B4AA-4F17DF24F504}"/>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99" name="Graphic 98" descr="Neighborhood">
              <a:extLst>
                <a:ext uri="{FF2B5EF4-FFF2-40B4-BE49-F238E27FC236}">
                  <a16:creationId xmlns:a16="http://schemas.microsoft.com/office/drawing/2014/main" id="{CB75C76B-D0EF-4BDA-9833-DA4A47AAB95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00" name="Graphic 99" descr="Mop and bucket">
            <a:extLst>
              <a:ext uri="{FF2B5EF4-FFF2-40B4-BE49-F238E27FC236}">
                <a16:creationId xmlns:a16="http://schemas.microsoft.com/office/drawing/2014/main" id="{94EBB136-2EFE-404D-BAC7-0CE620E57EA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01" name="Graphic 100" descr="Shield Tick">
            <a:extLst>
              <a:ext uri="{FF2B5EF4-FFF2-40B4-BE49-F238E27FC236}">
                <a16:creationId xmlns:a16="http://schemas.microsoft.com/office/drawing/2014/main" id="{6BF1B840-39B5-4B3C-AAAE-4B7B81B50C5F}"/>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02" name="Graphic 101" descr="Board Of Directors">
            <a:extLst>
              <a:ext uri="{FF2B5EF4-FFF2-40B4-BE49-F238E27FC236}">
                <a16:creationId xmlns:a16="http://schemas.microsoft.com/office/drawing/2014/main" id="{9E3CB5CA-B394-4EFB-8E57-F1BA8B040198}"/>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04" name="Graphic 103" descr="Coins">
            <a:extLst>
              <a:ext uri="{FF2B5EF4-FFF2-40B4-BE49-F238E27FC236}">
                <a16:creationId xmlns:a16="http://schemas.microsoft.com/office/drawing/2014/main" id="{CB58A7A2-E677-4B05-A9B3-0C1938D6430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05" name="Graphic 104" descr="Loan">
            <a:extLst>
              <a:ext uri="{FF2B5EF4-FFF2-40B4-BE49-F238E27FC236}">
                <a16:creationId xmlns:a16="http://schemas.microsoft.com/office/drawing/2014/main" id="{4A658650-29E7-40B2-B7BC-28E6362E18C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2063250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9632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23" name="Graphic 22" descr="Loan">
            <a:extLst>
              <a:ext uri="{FF2B5EF4-FFF2-40B4-BE49-F238E27FC236}">
                <a16:creationId xmlns:a16="http://schemas.microsoft.com/office/drawing/2014/main" id="{E9A6CD7E-DB52-4E92-8400-210F5CC28CA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7800" y="338196"/>
            <a:ext cx="408804" cy="408804"/>
          </a:xfrm>
          <a:prstGeom prst="rect">
            <a:avLst/>
          </a:prstGeom>
        </p:spPr>
      </p:pic>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igen middelen,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57308782"/>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697696821"/>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283054567"/>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020</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2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2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inwoners</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1/4)</a:t>
            </a:r>
            <a:endParaRPr lang="nl-NL" dirty="0"/>
          </a:p>
        </p:txBody>
      </p:sp>
      <p:grpSp>
        <p:nvGrpSpPr>
          <p:cNvPr id="24" name="Group 23">
            <a:extLst>
              <a:ext uri="{FF2B5EF4-FFF2-40B4-BE49-F238E27FC236}">
                <a16:creationId xmlns:a16="http://schemas.microsoft.com/office/drawing/2014/main" id="{B0F39471-3413-40F3-B5E9-F8C11D6891EF}"/>
              </a:ext>
            </a:extLst>
          </p:cNvPr>
          <p:cNvGrpSpPr/>
          <p:nvPr/>
        </p:nvGrpSpPr>
        <p:grpSpPr>
          <a:xfrm>
            <a:off x="705467" y="5997771"/>
            <a:ext cx="2406093" cy="247650"/>
            <a:chOff x="705467" y="5715567"/>
            <a:chExt cx="2406093" cy="247650"/>
          </a:xfrm>
        </p:grpSpPr>
        <p:sp>
          <p:nvSpPr>
            <p:cNvPr id="25" name="Rectangle 24">
              <a:extLst>
                <a:ext uri="{FF2B5EF4-FFF2-40B4-BE49-F238E27FC236}">
                  <a16:creationId xmlns:a16="http://schemas.microsoft.com/office/drawing/2014/main" id="{433F6C7B-BAB6-4B1B-8DC7-7F7C75130E13}"/>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FBBE51A8-B3FF-4EA3-854D-393B7767E42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34" name="Rectangle 33">
              <a:extLst>
                <a:ext uri="{FF2B5EF4-FFF2-40B4-BE49-F238E27FC236}">
                  <a16:creationId xmlns:a16="http://schemas.microsoft.com/office/drawing/2014/main" id="{A8DA9DFB-482F-4FDA-B15F-A42BEDC5C324}"/>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7274642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456947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9 meer nettering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67487964"/>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49260381"/>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821583579"/>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2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5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6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19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0.14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2079390"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pic>
        <p:nvPicPr>
          <p:cNvPr id="26" name="Graphic 25" descr="Loan">
            <a:extLst>
              <a:ext uri="{FF2B5EF4-FFF2-40B4-BE49-F238E27FC236}">
                <a16:creationId xmlns:a16="http://schemas.microsoft.com/office/drawing/2014/main" id="{9A1C6CD3-5F42-4883-92F1-2F44AF706B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59112EF4-5A8F-46FB-BB1E-AA58B2E5885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7" name="Title 2">
            <a:extLst>
              <a:ext uri="{FF2B5EF4-FFF2-40B4-BE49-F238E27FC236}">
                <a16:creationId xmlns:a16="http://schemas.microsoft.com/office/drawing/2014/main" id="{CABC3F9E-B32E-4912-BB39-216027A5E07C}"/>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2/4)</a:t>
            </a:r>
            <a:endParaRPr lang="nl-NL" dirty="0"/>
          </a:p>
        </p:txBody>
      </p:sp>
    </p:spTree>
    <p:extLst>
      <p:ext uri="{BB962C8B-B14F-4D97-AF65-F5344CB8AC3E}">
        <p14:creationId xmlns:p14="http://schemas.microsoft.com/office/powerpoint/2010/main" val="39559965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312789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 Placeholder 5">
            <a:hlinkClick r:id="rId6" action="ppaction://hlinksldjump"/>
            <a:extLst>
              <a:ext uri="{FF2B5EF4-FFF2-40B4-BE49-F238E27FC236}">
                <a16:creationId xmlns:a16="http://schemas.microsoft.com/office/drawing/2014/main" id="{0EE31AB7-1168-40B3-8377-CA9B0FBD57F6}"/>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10" name="Text Placeholder 5">
            <a:hlinkClick r:id="rId7" action="ppaction://hlinksldjump"/>
            <a:extLst>
              <a:ext uri="{FF2B5EF4-FFF2-40B4-BE49-F238E27FC236}">
                <a16:creationId xmlns:a16="http://schemas.microsoft.com/office/drawing/2014/main" id="{959BCC74-7152-4252-AE7F-69F635ECA5FB}"/>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11" name="Text Placeholder 5">
            <a:hlinkClick r:id="rId8" action="ppaction://hlinksldjump"/>
            <a:extLst>
              <a:ext uri="{FF2B5EF4-FFF2-40B4-BE49-F238E27FC236}">
                <a16:creationId xmlns:a16="http://schemas.microsoft.com/office/drawing/2014/main" id="{3B814BD7-C903-4E4C-9CEC-D8FC82304DAF}"/>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10407638" y="5722552"/>
            <a:ext cx="482600" cy="482600"/>
          </a:xfrm>
          <a:prstGeom prst="rect">
            <a:avLst/>
          </a:prstGeom>
        </p:spPr>
      </p:pic>
      <p:pic>
        <p:nvPicPr>
          <p:cNvPr id="13" name="Graphic 12" descr="Arrow: Straight">
            <a:extLst>
              <a:ext uri="{FF2B5EF4-FFF2-40B4-BE49-F238E27FC236}">
                <a16:creationId xmlns:a16="http://schemas.microsoft.com/office/drawing/2014/main" id="{588F1009-01FA-41DD-89E6-E9F2D623622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2453141"/>
            <a:ext cx="418002" cy="396000"/>
          </a:xfrm>
          <a:prstGeom prst="rect">
            <a:avLst/>
          </a:prstGeom>
        </p:spPr>
      </p:pic>
      <p:sp>
        <p:nvSpPr>
          <p:cNvPr id="17" name="Text Placeholder 5">
            <a:hlinkClick r:id="rId13" action="ppaction://hlinksldjump"/>
            <a:extLst>
              <a:ext uri="{FF2B5EF4-FFF2-40B4-BE49-F238E27FC236}">
                <a16:creationId xmlns:a16="http://schemas.microsoft.com/office/drawing/2014/main" id="{F4B08ACA-57B9-4F7C-8DF9-96F38B999516}"/>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27" name="Title 4">
            <a:hlinkClick r:id="rId13" action="ppaction://hlinksldjump"/>
            <a:extLst>
              <a:ext uri="{FF2B5EF4-FFF2-40B4-BE49-F238E27FC236}">
                <a16:creationId xmlns:a16="http://schemas.microsoft.com/office/drawing/2014/main" id="{77A9BBDE-6002-4B4A-8B43-AFE44CA2423F}"/>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28" name="Rectangle 27">
            <a:extLst>
              <a:ext uri="{FF2B5EF4-FFF2-40B4-BE49-F238E27FC236}">
                <a16:creationId xmlns:a16="http://schemas.microsoft.com/office/drawing/2014/main" id="{8A8503BF-4DA4-40CF-824E-B732DBE95B51}"/>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TextBox 28">
            <a:extLst>
              <a:ext uri="{FF2B5EF4-FFF2-40B4-BE49-F238E27FC236}">
                <a16:creationId xmlns:a16="http://schemas.microsoft.com/office/drawing/2014/main" id="{C3B3CCA0-B0AF-4582-96AE-BCF2AC25E56B}"/>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Rectangle 29">
            <a:extLst>
              <a:ext uri="{FF2B5EF4-FFF2-40B4-BE49-F238E27FC236}">
                <a16:creationId xmlns:a16="http://schemas.microsoft.com/office/drawing/2014/main" id="{705DACBE-0565-4A65-8DC1-81392FF0861E}"/>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31" name="Group 30">
            <a:extLst>
              <a:ext uri="{FF2B5EF4-FFF2-40B4-BE49-F238E27FC236}">
                <a16:creationId xmlns:a16="http://schemas.microsoft.com/office/drawing/2014/main" id="{46272F57-BD19-43F9-8523-DDE46CF345B2}"/>
              </a:ext>
            </a:extLst>
          </p:cNvPr>
          <p:cNvGrpSpPr/>
          <p:nvPr/>
        </p:nvGrpSpPr>
        <p:grpSpPr>
          <a:xfrm>
            <a:off x="66790" y="6692947"/>
            <a:ext cx="544183" cy="124497"/>
            <a:chOff x="2836862" y="3068799"/>
            <a:chExt cx="3837128" cy="877845"/>
          </a:xfrm>
          <a:solidFill>
            <a:schemeClr val="bg1"/>
          </a:solidFill>
        </p:grpSpPr>
        <p:sp>
          <p:nvSpPr>
            <p:cNvPr id="32" name="TextBox 31">
              <a:extLst>
                <a:ext uri="{FF2B5EF4-FFF2-40B4-BE49-F238E27FC236}">
                  <a16:creationId xmlns:a16="http://schemas.microsoft.com/office/drawing/2014/main" id="{029B7445-CAD6-454F-B8EB-1382FD4785DD}"/>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ED192109-DCEC-4545-A1EC-8E5C2D2A57B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6A377595-2F6C-464A-AD6D-181BBD0BBAF4}"/>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FEB4C301-AA3C-48BD-A5E0-92315D78C62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6" name="TextBox 35">
              <a:extLst>
                <a:ext uri="{FF2B5EF4-FFF2-40B4-BE49-F238E27FC236}">
                  <a16:creationId xmlns:a16="http://schemas.microsoft.com/office/drawing/2014/main" id="{E68A0EB0-2737-40A0-A8A2-C463BAF6E86C}"/>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7" name="TextBox 36">
              <a:extLst>
                <a:ext uri="{FF2B5EF4-FFF2-40B4-BE49-F238E27FC236}">
                  <a16:creationId xmlns:a16="http://schemas.microsoft.com/office/drawing/2014/main" id="{790BD577-4843-4F6A-9954-A47F0C05C9E0}"/>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8" name="TextBox 37">
              <a:extLst>
                <a:ext uri="{FF2B5EF4-FFF2-40B4-BE49-F238E27FC236}">
                  <a16:creationId xmlns:a16="http://schemas.microsoft.com/office/drawing/2014/main" id="{2C8F8296-18AB-46AE-9189-210D54278E0F}"/>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TextBox 38">
              <a:extLst>
                <a:ext uri="{FF2B5EF4-FFF2-40B4-BE49-F238E27FC236}">
                  <a16:creationId xmlns:a16="http://schemas.microsoft.com/office/drawing/2014/main" id="{17AC35EB-3DBD-457E-AE31-FB8E130A999E}"/>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0" name="TextBox 39">
              <a:extLst>
                <a:ext uri="{FF2B5EF4-FFF2-40B4-BE49-F238E27FC236}">
                  <a16:creationId xmlns:a16="http://schemas.microsoft.com/office/drawing/2014/main" id="{C911A545-BEAE-400E-BCF2-775B33703CF1}"/>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1" name="TextBox 40">
              <a:extLst>
                <a:ext uri="{FF2B5EF4-FFF2-40B4-BE49-F238E27FC236}">
                  <a16:creationId xmlns:a16="http://schemas.microsoft.com/office/drawing/2014/main" id="{ACB7E944-C186-4D95-990D-30D71112625B}"/>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5095A63F-189B-49C6-A598-2DF80EE52920}"/>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D6D94620-385A-4ABD-8C1C-D5D44138F6DD}"/>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Tree>
    <p:extLst>
      <p:ext uri="{BB962C8B-B14F-4D97-AF65-F5344CB8AC3E}">
        <p14:creationId xmlns:p14="http://schemas.microsoft.com/office/powerpoint/2010/main" val="4021742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47685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igen middelen,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812403181"/>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30" name="Graphic 29" descr="Loan">
            <a:extLst>
              <a:ext uri="{FF2B5EF4-FFF2-40B4-BE49-F238E27FC236}">
                <a16:creationId xmlns:a16="http://schemas.microsoft.com/office/drawing/2014/main" id="{2E1D0895-D254-4881-BB81-A59AAD18F6F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4F55F1B6-219F-4851-B777-389DD3A2ABD9}"/>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37" name="Title 2">
            <a:extLst>
              <a:ext uri="{FF2B5EF4-FFF2-40B4-BE49-F238E27FC236}">
                <a16:creationId xmlns:a16="http://schemas.microsoft.com/office/drawing/2014/main" id="{E22171D4-F612-4591-A4FA-E3A8E9EFA1BF}"/>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3/4)</a:t>
            </a:r>
            <a:endParaRPr lang="nl-NL" dirty="0"/>
          </a:p>
        </p:txBody>
      </p:sp>
    </p:spTree>
    <p:extLst>
      <p:ext uri="{BB962C8B-B14F-4D97-AF65-F5344CB8AC3E}">
        <p14:creationId xmlns:p14="http://schemas.microsoft.com/office/powerpoint/2010/main" val="11509116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57739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665817325"/>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OZB (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gebruik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3,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a:graphicFrameLocks noChangeAspect="1"/>
          </p:cNvGraphicFramePr>
          <p:nvPr>
            <p:extLst>
              <p:ext uri="{D42A27DB-BD31-4B8C-83A1-F6EECF244321}">
                <p14:modId xmlns:p14="http://schemas.microsoft.com/office/powerpoint/2010/main" val="2372254600"/>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pic>
        <p:nvPicPr>
          <p:cNvPr id="21" name="Graphic 20" descr="Loan">
            <a:extLst>
              <a:ext uri="{FF2B5EF4-FFF2-40B4-BE49-F238E27FC236}">
                <a16:creationId xmlns:a16="http://schemas.microsoft.com/office/drawing/2014/main" id="{FAC49DA0-C172-4253-A323-21A672920B1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22" name="Title 2">
            <a:extLst>
              <a:ext uri="{FF2B5EF4-FFF2-40B4-BE49-F238E27FC236}">
                <a16:creationId xmlns:a16="http://schemas.microsoft.com/office/drawing/2014/main" id="{BBF32607-4DB4-44E3-A094-914C0945171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24" name="Title 2">
            <a:extLst>
              <a:ext uri="{FF2B5EF4-FFF2-40B4-BE49-F238E27FC236}">
                <a16:creationId xmlns:a16="http://schemas.microsoft.com/office/drawing/2014/main" id="{CC26ABCC-BE06-4A95-8102-D3E54629DA8E}"/>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4/4)</a:t>
            </a:r>
            <a:endParaRPr lang="nl-NL" dirty="0"/>
          </a:p>
        </p:txBody>
      </p:sp>
    </p:spTree>
    <p:extLst>
      <p:ext uri="{BB962C8B-B14F-4D97-AF65-F5344CB8AC3E}">
        <p14:creationId xmlns:p14="http://schemas.microsoft.com/office/powerpoint/2010/main" val="19052271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37D0D83C-7C6F-4DBB-848C-D19472181597}"/>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D32FB74-A1EB-4AFC-9D98-C6502CD6CB75}"/>
              </a:ext>
            </a:extLst>
          </p:cNvPr>
          <p:cNvSpPr txBox="1">
            <a:spLocks/>
          </p:cNvSpPr>
          <p:nvPr/>
        </p:nvSpPr>
        <p:spPr>
          <a:xfrm>
            <a:off x="130213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komen en participatie</a:t>
            </a:r>
          </a:p>
        </p:txBody>
      </p:sp>
      <p:sp>
        <p:nvSpPr>
          <p:cNvPr id="108" name="Text Placeholder 5">
            <a:hlinkClick r:id="rId13" action="ppaction://hlinksldjump"/>
            <a:extLst>
              <a:ext uri="{FF2B5EF4-FFF2-40B4-BE49-F238E27FC236}">
                <a16:creationId xmlns:a16="http://schemas.microsoft.com/office/drawing/2014/main" id="{72EF2CEC-0C5A-490F-8E51-2EA81E79FFE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C1F5CBD0-8727-435C-8E1C-F315C55A838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D8FE3CD9-6244-461A-A73C-F4E8E1D98B0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64CE51D-2FFE-4F54-8DF4-D3E272F0A61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A11E2BAE-ABD2-4086-939E-42BEAADCAD08}"/>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E366ED69-784D-4B6E-9BCD-68002AFFA35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162C8F7F-BD02-4210-8EA2-6DC497A9631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80F5B31-F942-49FA-9BDB-E94827503A1F}"/>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339D1DB-7E47-4748-B3CA-6B30A5E2398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AD3A9EE7-343E-4056-B5CB-68F36ACF1B76}"/>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DB8C669-852A-4D1F-9D55-4DD83D8D3BA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DB459DD3-7142-460B-82E1-CA91D7EB215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B90E61A-7EA6-4F30-BAA1-D41643F2C4E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6B4CD48-078B-41B2-A53B-24DF5B7BD2B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F8B19412-F650-4B38-A60F-3520A4C3190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D09EBD9A-70B4-4592-B162-D117BD9E830C}"/>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FD78455A-85E5-43E4-89E1-09CF80233C8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172E058-F2DB-41FB-AFEE-5CDC3607E28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0096DC2C-7158-4EC4-86B3-6FD66E6DE91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724523C-3BBF-4EF3-B77D-44763F976B88}"/>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26DD08C3-7BB0-452A-A98B-4CD37E8F211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6C4F4A0C-5EE7-4BA2-B7A3-AEB43F508981}"/>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5B13230A-B25E-40CF-9A1E-9A114E7FB9E4}"/>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6BF47CB-200F-4456-8250-FFE52E76602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8C45BE60-9800-436F-9C54-667A9EDE9FB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55CA3F06-D13A-4A30-B15E-9B395788EF8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1362143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77138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komen en participatie</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994689773"/>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881878948"/>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495575749"/>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020</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2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2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5DEB02C1-8305-409A-84B0-DD13F5912D7D}"/>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7" name="Title 2">
            <a:extLst>
              <a:ext uri="{FF2B5EF4-FFF2-40B4-BE49-F238E27FC236}">
                <a16:creationId xmlns:a16="http://schemas.microsoft.com/office/drawing/2014/main" id="{AE11D547-A7D5-443E-8E38-68A601CF2922}"/>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1/4)</a:t>
            </a:r>
            <a:endParaRPr lang="nl-NL" dirty="0"/>
          </a:p>
        </p:txBody>
      </p:sp>
      <p:pic>
        <p:nvPicPr>
          <p:cNvPr id="18" name="Graphic 17" descr="Coins">
            <a:extLst>
              <a:ext uri="{FF2B5EF4-FFF2-40B4-BE49-F238E27FC236}">
                <a16:creationId xmlns:a16="http://schemas.microsoft.com/office/drawing/2014/main" id="{83ACE5A9-B831-4FBA-A47F-CE6AC210AE3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6651" y="446378"/>
            <a:ext cx="303298" cy="303298"/>
          </a:xfrm>
          <a:prstGeom prst="rect">
            <a:avLst/>
          </a:prstGeom>
        </p:spPr>
      </p:pic>
      <p:grpSp>
        <p:nvGrpSpPr>
          <p:cNvPr id="20" name="Group 19">
            <a:extLst>
              <a:ext uri="{FF2B5EF4-FFF2-40B4-BE49-F238E27FC236}">
                <a16:creationId xmlns:a16="http://schemas.microsoft.com/office/drawing/2014/main" id="{C7B030B9-72DB-480D-9451-A444EEE6A0C1}"/>
              </a:ext>
            </a:extLst>
          </p:cNvPr>
          <p:cNvGrpSpPr/>
          <p:nvPr/>
        </p:nvGrpSpPr>
        <p:grpSpPr>
          <a:xfrm>
            <a:off x="705467" y="5997771"/>
            <a:ext cx="3457332" cy="247650"/>
            <a:chOff x="705467" y="5715567"/>
            <a:chExt cx="3457332" cy="247650"/>
          </a:xfrm>
        </p:grpSpPr>
        <p:sp>
          <p:nvSpPr>
            <p:cNvPr id="21" name="Rectangle 20">
              <a:extLst>
                <a:ext uri="{FF2B5EF4-FFF2-40B4-BE49-F238E27FC236}">
                  <a16:creationId xmlns:a16="http://schemas.microsoft.com/office/drawing/2014/main" id="{0966B000-FAC3-4EBC-B187-DD4B75EEA9BA}"/>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21">
              <a:extLst>
                <a:ext uri="{FF2B5EF4-FFF2-40B4-BE49-F238E27FC236}">
                  <a16:creationId xmlns:a16="http://schemas.microsoft.com/office/drawing/2014/main" id="{A5A7CF15-9B21-4B33-ABE9-48CC2220240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EB3403C-85DB-47FD-A408-9994EADDA90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4" name="Rectangle 23">
              <a:extLst>
                <a:ext uri="{FF2B5EF4-FFF2-40B4-BE49-F238E27FC236}">
                  <a16:creationId xmlns:a16="http://schemas.microsoft.com/office/drawing/2014/main" id="{FE0FD181-5F73-454F-9960-99A42C85F8E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9BFE47B0-DDFB-4A32-B429-B4B1CB179E33}"/>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4456676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86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521222474"/>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767992473"/>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5</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9</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 / 2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995 / 2.099</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56972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244372484"/>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2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5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6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19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0.14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985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5F34497-6D71-4797-A967-3191F98E09B9}"/>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8" name="Title 2">
            <a:extLst>
              <a:ext uri="{FF2B5EF4-FFF2-40B4-BE49-F238E27FC236}">
                <a16:creationId xmlns:a16="http://schemas.microsoft.com/office/drawing/2014/main" id="{CFCF4384-9180-42B5-976E-D3EC06352A73}"/>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Gemeente Amsterdam (1/3)</a:t>
            </a:r>
            <a:endParaRPr lang="nl-NL" dirty="0"/>
          </a:p>
        </p:txBody>
      </p:sp>
      <p:pic>
        <p:nvPicPr>
          <p:cNvPr id="19" name="Graphic 18" descr="Coins">
            <a:extLst>
              <a:ext uri="{FF2B5EF4-FFF2-40B4-BE49-F238E27FC236}">
                <a16:creationId xmlns:a16="http://schemas.microsoft.com/office/drawing/2014/main" id="{EAD0373D-D61C-4A5A-ABEC-CDDFBD09B8E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40136883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9018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komen en participatie,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578942895"/>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5D24808A-B95A-4C10-861D-F3E3074AEFB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31" name="Title 2">
            <a:extLst>
              <a:ext uri="{FF2B5EF4-FFF2-40B4-BE49-F238E27FC236}">
                <a16:creationId xmlns:a16="http://schemas.microsoft.com/office/drawing/2014/main" id="{784F947C-A827-4FFF-9C21-FA74ACE2FBD0}"/>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3/4)</a:t>
            </a:r>
            <a:endParaRPr lang="nl-NL" dirty="0"/>
          </a:p>
        </p:txBody>
      </p:sp>
      <p:pic>
        <p:nvPicPr>
          <p:cNvPr id="37" name="Graphic 36" descr="Coins">
            <a:extLst>
              <a:ext uri="{FF2B5EF4-FFF2-40B4-BE49-F238E27FC236}">
                <a16:creationId xmlns:a16="http://schemas.microsoft.com/office/drawing/2014/main" id="{047CD9D9-A85F-4B6B-BA75-79F0A37B680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1649684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8747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678305607"/>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Re-integratie klassie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oonkostensubsid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persoons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3,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630948519"/>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720617051"/>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Participat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rmoedebestrijding kinder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chulden en armoed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erspectief op werk 202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779716320"/>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C27D195-E6BE-43FB-A2A9-07549664E2A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22" name="Title 2">
            <a:extLst>
              <a:ext uri="{FF2B5EF4-FFF2-40B4-BE49-F238E27FC236}">
                <a16:creationId xmlns:a16="http://schemas.microsoft.com/office/drawing/2014/main" id="{C0563218-7F77-43B8-B47E-BEE9B50108DF}"/>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4/4)</a:t>
            </a:r>
            <a:endParaRPr lang="nl-NL" dirty="0"/>
          </a:p>
        </p:txBody>
      </p:sp>
      <p:pic>
        <p:nvPicPr>
          <p:cNvPr id="24" name="Graphic 23" descr="Coins">
            <a:extLst>
              <a:ext uri="{FF2B5EF4-FFF2-40B4-BE49-F238E27FC236}">
                <a16:creationId xmlns:a16="http://schemas.microsoft.com/office/drawing/2014/main" id="{56F2C103-9AE3-4E34-932C-E75C7477B46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5822276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EEEF683-4E52-425C-AADA-4ED579B9A069}"/>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F91D41AC-E40D-48DD-BCE8-63E908AD18EF}"/>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8B1BDBA-50C4-4301-BF96-E833F8D2D3C1}"/>
              </a:ext>
            </a:extLst>
          </p:cNvPr>
          <p:cNvSpPr txBox="1">
            <a:spLocks/>
          </p:cNvSpPr>
          <p:nvPr/>
        </p:nvSpPr>
        <p:spPr>
          <a:xfrm>
            <a:off x="130213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Samenkracht en burgerparticipatie</a:t>
            </a:r>
          </a:p>
        </p:txBody>
      </p:sp>
      <p:sp>
        <p:nvSpPr>
          <p:cNvPr id="109" name="Text Placeholder 5">
            <a:hlinkClick r:id="rId14" action="ppaction://hlinksldjump"/>
            <a:extLst>
              <a:ext uri="{FF2B5EF4-FFF2-40B4-BE49-F238E27FC236}">
                <a16:creationId xmlns:a16="http://schemas.microsoft.com/office/drawing/2014/main" id="{F6FE2204-5EDA-4EC2-98AB-52DF42009CE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F787F7D4-BAEE-44FC-BEE4-4132A2098280}"/>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52CAE64-8924-4C18-A7B5-F010CC15EB7D}"/>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CF4DAB0D-2A32-497C-B84B-D604611B1F6E}"/>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28A9BA69-23DA-45DA-A77F-2426D67ED14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2287705-51A3-48E8-8A8D-6FB4E7A2B81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3F36E6C9-6353-47C3-B15A-E1DF6DB4E95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8688D598-9415-4573-B5A6-622489D1F65F}"/>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97B89949-52E5-4FCE-BF77-258B971F6EF7}"/>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EA9063A-5A5D-4918-92E7-011B1B77BAC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DE22FB3-64E2-44DA-A436-7D25CE35892C}"/>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D9AD8A47-D267-40E2-BE74-6CFC34144395}"/>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4BB4342-299D-4A04-A0EC-A8A157294A1C}"/>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D6CB4787-12C8-4D6D-88FD-79B77FB3415E}"/>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6D7469C-2587-429F-8590-D0299DD55A9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1D09999-F2B1-4C34-A660-18821F3BE66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AA346096-14BD-49F6-A755-73DBA4C9C3FB}"/>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6D3301E8-164C-4AA7-A133-50A43223D628}"/>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A954F4C-C83A-4BB4-89C9-E3DA719CD8D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2C08A10-5DFF-49D5-A88B-EB30C653C5BB}"/>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47EEB785-E69E-4BBC-98EF-6919D759E925}"/>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F9EA8B28-02B5-4CE2-BF5B-8B79D5C912A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A7BDCE0-CB24-46E9-8381-5F349FDF383D}"/>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31A209D8-BD47-4BE6-A330-36156D827EED}"/>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64BFF4E-0642-4DF7-99CD-53C7AC94676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3014278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03148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samenkracht en burgerparticip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401823840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03734891"/>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74817187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020</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2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2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CF6C9B65-D7E9-4423-850D-507D9EC9A58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7" name="Title 2">
            <a:extLst>
              <a:ext uri="{FF2B5EF4-FFF2-40B4-BE49-F238E27FC236}">
                <a16:creationId xmlns:a16="http://schemas.microsoft.com/office/drawing/2014/main" id="{D302FA56-30A6-47EF-B59F-03B2B8842375}"/>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1/4)</a:t>
            </a:r>
            <a:endParaRPr lang="nl-NL" dirty="0"/>
          </a:p>
        </p:txBody>
      </p:sp>
      <p:pic>
        <p:nvPicPr>
          <p:cNvPr id="20" name="Graphic 19" descr="Cheers">
            <a:extLst>
              <a:ext uri="{FF2B5EF4-FFF2-40B4-BE49-F238E27FC236}">
                <a16:creationId xmlns:a16="http://schemas.microsoft.com/office/drawing/2014/main" id="{2C39FCEB-D767-4723-B5A2-D5E3690F58F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432069"/>
            <a:ext cx="381526" cy="381526"/>
          </a:xfrm>
          <a:prstGeom prst="rect">
            <a:avLst/>
          </a:prstGeom>
        </p:spPr>
      </p:pic>
      <p:grpSp>
        <p:nvGrpSpPr>
          <p:cNvPr id="21" name="Group 20">
            <a:extLst>
              <a:ext uri="{FF2B5EF4-FFF2-40B4-BE49-F238E27FC236}">
                <a16:creationId xmlns:a16="http://schemas.microsoft.com/office/drawing/2014/main" id="{5B750A1F-B8EE-40FB-9ECC-3E852649C44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821D494-B8BF-412B-BCEE-7C12A4444F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0EC0BFAD-FF06-4835-86B1-88407343A88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E5709084-4B27-4134-8FB7-1800F6EA3A6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E90F258F-82CD-4231-A6FF-BE1E4217DA68}"/>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3C36D21F-49F2-422B-83B4-4BC0878C885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1224912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3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4255972866"/>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633522108"/>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7 / 3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96506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939939236"/>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2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5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6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19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0.14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980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661EAE17-458C-4F9A-8EF3-9BDA6AB3DCB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8" name="Title 2">
            <a:extLst>
              <a:ext uri="{FF2B5EF4-FFF2-40B4-BE49-F238E27FC236}">
                <a16:creationId xmlns:a16="http://schemas.microsoft.com/office/drawing/2014/main" id="{816BF081-1D1E-4ADF-9871-9A7E544912FD}"/>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2/4)</a:t>
            </a:r>
            <a:endParaRPr lang="nl-NL" dirty="0"/>
          </a:p>
        </p:txBody>
      </p:sp>
      <p:pic>
        <p:nvPicPr>
          <p:cNvPr id="19" name="Graphic 18" descr="Cheers">
            <a:extLst>
              <a:ext uri="{FF2B5EF4-FFF2-40B4-BE49-F238E27FC236}">
                <a16:creationId xmlns:a16="http://schemas.microsoft.com/office/drawing/2014/main" id="{4649A49B-231D-4FF3-A8D4-B202EC2A11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42946973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449892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Werking van het gemeentefonds</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a:t>
            </a:fld>
            <a:endParaRPr lang="nl-NL"/>
          </a:p>
        </p:txBody>
      </p:sp>
      <p:sp>
        <p:nvSpPr>
          <p:cNvPr id="9" name="Content Placeholder 8">
            <a:extLst>
              <a:ext uri="{FF2B5EF4-FFF2-40B4-BE49-F238E27FC236}">
                <a16:creationId xmlns:a16="http://schemas.microsoft.com/office/drawing/2014/main" id="{AE597E2E-E90F-4DDA-A026-EF1556A47358}"/>
              </a:ext>
            </a:extLst>
          </p:cNvPr>
          <p:cNvSpPr>
            <a:spLocks noGrp="1"/>
          </p:cNvSpPr>
          <p:nvPr>
            <p:ph sz="quarter" idx="18"/>
          </p:nvPr>
        </p:nvSpPr>
        <p:spPr>
          <a:xfrm>
            <a:off x="666748" y="1592263"/>
            <a:ext cx="7162348" cy="4716462"/>
          </a:xfrm>
        </p:spPr>
        <p:txBody>
          <a:bodyPr/>
          <a:lstStyle/>
          <a:p>
            <a:r>
              <a:rPr lang="nl-NL" dirty="0"/>
              <a:t>Gemeenten ontvangen geld van de Rijksoverheid uit het gemeentefonds. Hiermee betalen zij een deel van hun uitgaven. Gemeenten mogen zelf bepalen waar ze dit geld aan besteden. Zij leggen daarover verantwoording af aan de gemeenteraad.</a:t>
            </a:r>
          </a:p>
          <a:p>
            <a:r>
              <a:rPr lang="nl-NL" b="1" dirty="0"/>
              <a:t>Omvang gemeentefonds per gemeente</a:t>
            </a:r>
          </a:p>
          <a:p>
            <a:r>
              <a:rPr lang="nl-NL" dirty="0"/>
              <a:t>Hoeveel geld individuele gemeenten uit het gemeentefonds krijgen, hangt af van de kenmerken en de belastingcapaciteit van de gemeenten. De belastingcapaciteit geeft aan hoeveel belasting een gemeente jaarlijks kan innen. De Rijksoverheid kijkt bij de verdeling van het gemeentefonds over de gemeenten onder meer naar: aantal inwoners; aantal jongeren; aantal uitkeringsgerechtigden; oppervlakte van de gemeente; grootte van de watergebieden.</a:t>
            </a:r>
          </a:p>
          <a:p>
            <a:r>
              <a:rPr lang="nl-NL" dirty="0"/>
              <a:t>Dit worden maatstaven genoemd. Er zijn ruim 60 maatstaven. Elke maatstaf heeft een bedrag ‘per eenheid’. De gemeente krijgt dus geld voor iedere inwoner, iedere jongere, enzovoorts. </a:t>
            </a:r>
          </a:p>
          <a:p>
            <a:r>
              <a:rPr lang="nl-NL" b="1" dirty="0"/>
              <a:t>Verdeling gemeentefonds</a:t>
            </a:r>
          </a:p>
          <a:p>
            <a:r>
              <a:rPr lang="nl-NL" dirty="0"/>
              <a:t>Het aandeel van een gemeente in het gemeentefonds is kleiner naarmate het vermogen om belastingen te heffen groter is. Het gaat hier om de WOZ-waarde van onroerende zaken in de gemeente, berekend tegen een voor alle gemeenten gelijk tarief. Meer over dit onderwerp staat op de pagina Gemeentelijke belastingen. Gemeenten ontvangen naast de algemene uitkering ook decentralisatie- en integratie-uitkeringen uit het gemeentefonds.</a:t>
            </a:r>
          </a:p>
          <a:p>
            <a:endParaRPr lang="nl-NL" dirty="0"/>
          </a:p>
        </p:txBody>
      </p:sp>
      <p:sp>
        <p:nvSpPr>
          <p:cNvPr id="22" name="Text Placeholder 14">
            <a:extLst>
              <a:ext uri="{FF2B5EF4-FFF2-40B4-BE49-F238E27FC236}">
                <a16:creationId xmlns:a16="http://schemas.microsoft.com/office/drawing/2014/main" id="{60A34C5E-4917-4ECD-8167-8021B7DC48F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https://www.rijksoverheid.nl/onderwerpen/financien-gemeenten-en-provincies/gemeentefonds </a:t>
            </a:r>
          </a:p>
        </p:txBody>
      </p:sp>
      <p:sp>
        <p:nvSpPr>
          <p:cNvPr id="23" name="Rectangle: Rounded Corners 22">
            <a:extLst>
              <a:ext uri="{FF2B5EF4-FFF2-40B4-BE49-F238E27FC236}">
                <a16:creationId xmlns:a16="http://schemas.microsoft.com/office/drawing/2014/main" id="{C7698712-9906-4CA0-BF55-A3A903BF1BBE}"/>
              </a:ext>
            </a:extLst>
          </p:cNvPr>
          <p:cNvSpPr/>
          <p:nvPr/>
        </p:nvSpPr>
        <p:spPr>
          <a:xfrm>
            <a:off x="8081841" y="1921314"/>
            <a:ext cx="3308348" cy="2107232"/>
          </a:xfrm>
          <a:prstGeom prst="roundRect">
            <a:avLst>
              <a:gd name="adj" fmla="val 3088"/>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filmpje van Min. van BZK</a:t>
            </a:r>
          </a:p>
        </p:txBody>
      </p:sp>
      <p:sp>
        <p:nvSpPr>
          <p:cNvPr id="24" name="Content Placeholder 8">
            <a:extLst>
              <a:ext uri="{FF2B5EF4-FFF2-40B4-BE49-F238E27FC236}">
                <a16:creationId xmlns:a16="http://schemas.microsoft.com/office/drawing/2014/main" id="{D554CA4C-B828-46B4-B948-D1D6D0CD53AC}"/>
              </a:ext>
            </a:extLst>
          </p:cNvPr>
          <p:cNvSpPr txBox="1">
            <a:spLocks/>
          </p:cNvSpPr>
          <p:nvPr/>
        </p:nvSpPr>
        <p:spPr>
          <a:xfrm>
            <a:off x="8006080" y="1592263"/>
            <a:ext cx="3519172"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b="1" dirty="0"/>
              <a:t>Meer weten?</a:t>
            </a:r>
          </a:p>
        </p:txBody>
      </p:sp>
      <p:pic>
        <p:nvPicPr>
          <p:cNvPr id="16" name="Picture 15">
            <a:hlinkClick r:id="rId6"/>
            <a:extLst>
              <a:ext uri="{FF2B5EF4-FFF2-40B4-BE49-F238E27FC236}">
                <a16:creationId xmlns:a16="http://schemas.microsoft.com/office/drawing/2014/main" id="{C806E9C2-75AF-4562-9632-8E96D8E03AD6}"/>
              </a:ext>
            </a:extLst>
          </p:cNvPr>
          <p:cNvPicPr>
            <a:picLocks noChangeAspect="1"/>
          </p:cNvPicPr>
          <p:nvPr/>
        </p:nvPicPr>
        <p:blipFill rotWithShape="1">
          <a:blip r:embed="rId7">
            <a:duotone>
              <a:prstClr val="black"/>
              <a:schemeClr val="bg1">
                <a:lumMod val="75000"/>
                <a:tint val="45000"/>
                <a:satMod val="400000"/>
              </a:schemeClr>
            </a:duotone>
            <a:alphaModFix amt="50000"/>
          </a:blip>
          <a:srcRect l="4898" t="4025" r="3299" b="5833"/>
          <a:stretch/>
        </p:blipFill>
        <p:spPr>
          <a:xfrm>
            <a:off x="8289305" y="2264725"/>
            <a:ext cx="2866912" cy="1602983"/>
          </a:xfrm>
          <a:prstGeom prst="roundRect">
            <a:avLst>
              <a:gd name="adj" fmla="val 2881"/>
            </a:avLst>
          </a:prstGeom>
          <a:ln w="28575">
            <a:noFill/>
          </a:ln>
        </p:spPr>
      </p:pic>
      <p:grpSp>
        <p:nvGrpSpPr>
          <p:cNvPr id="18" name="Group 17">
            <a:extLst>
              <a:ext uri="{FF2B5EF4-FFF2-40B4-BE49-F238E27FC236}">
                <a16:creationId xmlns:a16="http://schemas.microsoft.com/office/drawing/2014/main" id="{0B4A5863-0401-47A5-A457-2375EB1B21D2}"/>
              </a:ext>
            </a:extLst>
          </p:cNvPr>
          <p:cNvGrpSpPr/>
          <p:nvPr/>
        </p:nvGrpSpPr>
        <p:grpSpPr>
          <a:xfrm>
            <a:off x="9213000" y="2625344"/>
            <a:ext cx="990600" cy="975261"/>
            <a:chOff x="0" y="0"/>
            <a:chExt cx="980141" cy="1004047"/>
          </a:xfrm>
        </p:grpSpPr>
        <p:sp>
          <p:nvSpPr>
            <p:cNvPr id="19" name="Oval 18">
              <a:hlinkClick r:id="rId6"/>
              <a:extLst>
                <a:ext uri="{FF2B5EF4-FFF2-40B4-BE49-F238E27FC236}">
                  <a16:creationId xmlns:a16="http://schemas.microsoft.com/office/drawing/2014/main" id="{A5B226F3-C548-41F8-9003-09EA501F5BAE}"/>
                </a:ext>
              </a:extLst>
            </p:cNvPr>
            <p:cNvSpPr/>
            <p:nvPr/>
          </p:nvSpPr>
          <p:spPr>
            <a:xfrm>
              <a:off x="0" y="0"/>
              <a:ext cx="980141" cy="1004047"/>
            </a:xfrm>
            <a:prstGeom prst="ellipse">
              <a:avLst/>
            </a:prstGeom>
            <a:solidFill>
              <a:schemeClr val="bg1">
                <a:lumMod val="75000"/>
                <a:alpha val="5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20" name="Isosceles Triangle 19">
              <a:hlinkClick r:id="rId6"/>
              <a:extLst>
                <a:ext uri="{FF2B5EF4-FFF2-40B4-BE49-F238E27FC236}">
                  <a16:creationId xmlns:a16="http://schemas.microsoft.com/office/drawing/2014/main" id="{69939E14-85B6-4486-A3CA-20C136A53EC7}"/>
                </a:ext>
              </a:extLst>
            </p:cNvPr>
            <p:cNvSpPr/>
            <p:nvPr/>
          </p:nvSpPr>
          <p:spPr>
            <a:xfrm rot="5400000">
              <a:off x="343647" y="343647"/>
              <a:ext cx="415962" cy="358588"/>
            </a:xfrm>
            <a:prstGeom prst="triangle">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grpSp>
      <p:sp>
        <p:nvSpPr>
          <p:cNvPr id="25" name="Rectangle: Rounded Corners 24">
            <a:hlinkClick r:id="rId8"/>
            <a:extLst>
              <a:ext uri="{FF2B5EF4-FFF2-40B4-BE49-F238E27FC236}">
                <a16:creationId xmlns:a16="http://schemas.microsoft.com/office/drawing/2014/main" id="{A66941CE-1C52-4C02-B856-488D66D7C4E9}"/>
              </a:ext>
            </a:extLst>
          </p:cNvPr>
          <p:cNvSpPr/>
          <p:nvPr/>
        </p:nvSpPr>
        <p:spPr>
          <a:xfrm>
            <a:off x="8081841" y="4144433"/>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 uitleg</a:t>
            </a:r>
          </a:p>
        </p:txBody>
      </p:sp>
      <p:sp>
        <p:nvSpPr>
          <p:cNvPr id="26" name="Rectangle: Rounded Corners 25">
            <a:hlinkClick r:id="rId9"/>
            <a:extLst>
              <a:ext uri="{FF2B5EF4-FFF2-40B4-BE49-F238E27FC236}">
                <a16:creationId xmlns:a16="http://schemas.microsoft.com/office/drawing/2014/main" id="{0000F410-FD6D-4C13-BE76-174264075C4A}"/>
              </a:ext>
            </a:extLst>
          </p:cNvPr>
          <p:cNvSpPr/>
          <p:nvPr/>
        </p:nvSpPr>
        <p:spPr>
          <a:xfrm>
            <a:off x="8081841" y="4770107"/>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Toelichting op de berekening van de uitkeringen uit het gemeentefonds</a:t>
            </a:r>
          </a:p>
        </p:txBody>
      </p:sp>
      <p:sp>
        <p:nvSpPr>
          <p:cNvPr id="27" name="Rectangle: Rounded Corners 26">
            <a:hlinkClick r:id="rId10"/>
            <a:extLst>
              <a:ext uri="{FF2B5EF4-FFF2-40B4-BE49-F238E27FC236}">
                <a16:creationId xmlns:a16="http://schemas.microsoft.com/office/drawing/2014/main" id="{5A83D6BB-C81D-41D8-B921-D4BA3FE5F496}"/>
              </a:ext>
            </a:extLst>
          </p:cNvPr>
          <p:cNvSpPr/>
          <p:nvPr/>
        </p:nvSpPr>
        <p:spPr>
          <a:xfrm>
            <a:off x="8081841" y="5395781"/>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Brongegevens met uitkeringen per jaar</a:t>
            </a:r>
          </a:p>
        </p:txBody>
      </p:sp>
    </p:spTree>
    <p:extLst>
      <p:ext uri="{BB962C8B-B14F-4D97-AF65-F5344CB8AC3E}">
        <p14:creationId xmlns:p14="http://schemas.microsoft.com/office/powerpoint/2010/main" val="32686429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74746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Samenkracht en burgerparticip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15467464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454120D-59D5-433C-B01C-E6F8031ADB8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31" name="Title 2">
            <a:extLst>
              <a:ext uri="{FF2B5EF4-FFF2-40B4-BE49-F238E27FC236}">
                <a16:creationId xmlns:a16="http://schemas.microsoft.com/office/drawing/2014/main" id="{0C2C92E6-308A-4E20-A048-DD3AF65EB847}"/>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3/4)</a:t>
            </a:r>
            <a:endParaRPr lang="nl-NL" dirty="0"/>
          </a:p>
        </p:txBody>
      </p:sp>
      <p:pic>
        <p:nvPicPr>
          <p:cNvPr id="37" name="Graphic 36" descr="Cheers">
            <a:extLst>
              <a:ext uri="{FF2B5EF4-FFF2-40B4-BE49-F238E27FC236}">
                <a16:creationId xmlns:a16="http://schemas.microsoft.com/office/drawing/2014/main" id="{EC6079EA-569A-4EC3-87E0-6A8DFAC87F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8348679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74287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052138819"/>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7</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069529902"/>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796958231"/>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hoging taalniveau statush</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elijke vreemdelingenvoorz</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197754095"/>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4F85685-CC2E-4266-8A2D-AE7998E9C79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22" name="Title 2">
            <a:extLst>
              <a:ext uri="{FF2B5EF4-FFF2-40B4-BE49-F238E27FC236}">
                <a16:creationId xmlns:a16="http://schemas.microsoft.com/office/drawing/2014/main" id="{B68675A2-17DF-418F-A74B-390871FE6496}"/>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4/4)</a:t>
            </a:r>
            <a:endParaRPr lang="nl-NL" dirty="0"/>
          </a:p>
        </p:txBody>
      </p:sp>
      <p:pic>
        <p:nvPicPr>
          <p:cNvPr id="24" name="Graphic 23" descr="Cheers">
            <a:extLst>
              <a:ext uri="{FF2B5EF4-FFF2-40B4-BE49-F238E27FC236}">
                <a16:creationId xmlns:a16="http://schemas.microsoft.com/office/drawing/2014/main" id="{AF6929C5-9B83-4B4E-97D8-A18D9226400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2840138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8E95B24E-F8F6-4DEE-95F2-5D3D26935E6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6A57973-2FD0-40B8-962C-F6CD21B62C41}"/>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0CE6EB15-5566-4058-B55B-91E6083D9D5D}"/>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877D6E1F-CF8C-4B16-89A0-DE16533D788E}"/>
              </a:ext>
            </a:extLst>
          </p:cNvPr>
          <p:cNvSpPr txBox="1">
            <a:spLocks/>
          </p:cNvSpPr>
          <p:nvPr/>
        </p:nvSpPr>
        <p:spPr>
          <a:xfrm>
            <a:off x="130213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Jeugd</a:t>
            </a:r>
          </a:p>
        </p:txBody>
      </p:sp>
      <p:sp>
        <p:nvSpPr>
          <p:cNvPr id="110" name="Text Placeholder 5">
            <a:hlinkClick r:id="rId15" action="ppaction://hlinksldjump"/>
            <a:extLst>
              <a:ext uri="{FF2B5EF4-FFF2-40B4-BE49-F238E27FC236}">
                <a16:creationId xmlns:a16="http://schemas.microsoft.com/office/drawing/2014/main" id="{20469900-91AD-482B-9848-EAFAE3EBA51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D24C8D22-B388-4AB1-B99D-0FED7DEA0D3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FC99A64B-2513-404D-8871-90F92DD13BDD}"/>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65C59CA-EDA2-4567-9017-0D1DC7ECD420}"/>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FAD803A6-3AE6-4CCE-9EF2-0DA2DCBEF4B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48B27F5-1CB9-46DD-800F-E5936B4CE8B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309A8260-A54A-44BC-AE6F-8606C14BB5E3}"/>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F6BDAE05-2612-499C-82F1-F6AA051F2EC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B7AD3BB-D613-43C1-817F-DE656FA9091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3D968905-698D-43EF-92F3-47829C17469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2B9F6A62-0487-4E8A-834D-DF9364C21B9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CB73807-CC8E-461E-8448-1EA327DFBF8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03D95846-D9C1-456A-A684-BF6C94F5DA73}"/>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AA0D85C-345B-4081-BEFD-8E5C2AF44A5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84F6E027-2CF6-47D0-A5B2-8097C327BD4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99DA0AA0-BBB3-41CD-81B1-0274187042AE}"/>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DDBDF1DF-FF20-41ED-9F03-83D6939F723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89B0D875-22B3-44C8-84B5-BEE3D736650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828A2324-36BE-4A7A-A8D5-78148C1BD936}"/>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92E5B712-9ACA-4973-BDBC-024308B47F87}"/>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EA6B59F-76FE-4698-8C69-1BE315228C71}"/>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060F478-4574-44C3-BA27-33D229F392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170683-620C-4FC9-9397-D69EBDB2CC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19A3F9BD-0EB5-4CBE-8E44-B975B8E2CCF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9985243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jeug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716905357"/>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9" name="Group 28">
            <a:extLst>
              <a:ext uri="{FF2B5EF4-FFF2-40B4-BE49-F238E27FC236}">
                <a16:creationId xmlns:a16="http://schemas.microsoft.com/office/drawing/2014/main" id="{0D6F0895-C1AD-4583-9FB6-41C8F6B6132D}"/>
              </a:ext>
            </a:extLst>
          </p:cNvPr>
          <p:cNvGrpSpPr/>
          <p:nvPr/>
        </p:nvGrpSpPr>
        <p:grpSpPr>
          <a:xfrm>
            <a:off x="707973" y="316389"/>
            <a:ext cx="465286" cy="402724"/>
            <a:chOff x="9659003" y="256554"/>
            <a:chExt cx="2006158" cy="1736412"/>
          </a:xfrm>
          <a:solidFill>
            <a:srgbClr val="22777B"/>
          </a:solidFill>
        </p:grpSpPr>
        <p:pic>
          <p:nvPicPr>
            <p:cNvPr id="30" name="Graphic 29" descr="School girl">
              <a:extLst>
                <a:ext uri="{FF2B5EF4-FFF2-40B4-BE49-F238E27FC236}">
                  <a16:creationId xmlns:a16="http://schemas.microsoft.com/office/drawing/2014/main" id="{19A741B9-36F7-4849-A5D1-AD94A737148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59003" y="256554"/>
              <a:ext cx="1392448" cy="1392448"/>
            </a:xfrm>
            <a:prstGeom prst="rect">
              <a:avLst/>
            </a:prstGeom>
          </p:spPr>
        </p:pic>
        <p:pic>
          <p:nvPicPr>
            <p:cNvPr id="31" name="Graphic 30" descr="School boy">
              <a:extLst>
                <a:ext uri="{FF2B5EF4-FFF2-40B4-BE49-F238E27FC236}">
                  <a16:creationId xmlns:a16="http://schemas.microsoft.com/office/drawing/2014/main" id="{C5D4455B-F911-4FA0-9C5E-9AE23B60959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72713" y="600518"/>
              <a:ext cx="1392448" cy="1392448"/>
            </a:xfrm>
            <a:prstGeom prst="rect">
              <a:avLst/>
            </a:prstGeom>
          </p:spPr>
        </p:pic>
      </p:gr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35859522"/>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534001328"/>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6.100</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5.472</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5.472</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1/4)</a:t>
            </a:r>
            <a:endParaRPr lang="nl-NL" dirty="0"/>
          </a:p>
        </p:txBody>
      </p:sp>
      <p:grpSp>
        <p:nvGrpSpPr>
          <p:cNvPr id="21" name="Group 20">
            <a:extLst>
              <a:ext uri="{FF2B5EF4-FFF2-40B4-BE49-F238E27FC236}">
                <a16:creationId xmlns:a16="http://schemas.microsoft.com/office/drawing/2014/main" id="{3CFC5956-ACC1-4608-A12D-5948ADCF1E5F}"/>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98157D93-18BB-4AE1-98C3-0B2925A243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4C3FA53-875C-4DC6-9712-E33C092A7247}"/>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CD36A37F-FC8E-407C-8B0B-928E6DF2ACC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1BBA6673-7343-446A-B5E6-3CFC4CD01E7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0E03E7D0-6205-403C-92FA-032C7528939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8201242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 meer inkomsten dan de 4 vergelijkingsgemeenten</a:t>
            </a:r>
            <a:endParaRPr lang="nl-NL" dirty="0"/>
          </a:p>
        </p:txBody>
      </p:sp>
      <p:sp>
        <p:nvSpPr>
          <p:cNvPr id="20" name="Title 2">
            <a:extLst>
              <a:ext uri="{FF2B5EF4-FFF2-40B4-BE49-F238E27FC236}">
                <a16:creationId xmlns:a16="http://schemas.microsoft.com/office/drawing/2014/main" id="{B4149A74-1D0B-44B3-82C9-672AAFBEF073}"/>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1" name="Group 20">
            <a:extLst>
              <a:ext uri="{FF2B5EF4-FFF2-40B4-BE49-F238E27FC236}">
                <a16:creationId xmlns:a16="http://schemas.microsoft.com/office/drawing/2014/main" id="{3ED8A296-54EC-4D12-BBF2-051479B3EB34}"/>
              </a:ext>
            </a:extLst>
          </p:cNvPr>
          <p:cNvGrpSpPr/>
          <p:nvPr/>
        </p:nvGrpSpPr>
        <p:grpSpPr>
          <a:xfrm>
            <a:off x="707973" y="316389"/>
            <a:ext cx="465286" cy="402724"/>
            <a:chOff x="9659003" y="256554"/>
            <a:chExt cx="2006158" cy="1736412"/>
          </a:xfrm>
          <a:solidFill>
            <a:srgbClr val="22777B"/>
          </a:solidFill>
        </p:grpSpPr>
        <p:pic>
          <p:nvPicPr>
            <p:cNvPr id="22" name="Graphic 21" descr="School girl">
              <a:extLst>
                <a:ext uri="{FF2B5EF4-FFF2-40B4-BE49-F238E27FC236}">
                  <a16:creationId xmlns:a16="http://schemas.microsoft.com/office/drawing/2014/main" id="{2B6F6DE7-56BA-4F44-8FA6-8C366FDDFE2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59003" y="256554"/>
              <a:ext cx="1392448" cy="1392448"/>
            </a:xfrm>
            <a:prstGeom prst="rect">
              <a:avLst/>
            </a:prstGeom>
          </p:spPr>
        </p:pic>
        <p:pic>
          <p:nvPicPr>
            <p:cNvPr id="23" name="Graphic 22" descr="School boy">
              <a:extLst>
                <a:ext uri="{FF2B5EF4-FFF2-40B4-BE49-F238E27FC236}">
                  <a16:creationId xmlns:a16="http://schemas.microsoft.com/office/drawing/2014/main" id="{9030F9D6-CF7E-4F3D-B55A-2C6B0C938EA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272713" y="600518"/>
              <a:ext cx="1392448" cy="1392448"/>
            </a:xfrm>
            <a:prstGeom prst="rect">
              <a:avLst/>
            </a:prstGeom>
          </p:spPr>
        </p:pic>
      </p:gr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184554985"/>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10"/>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699625538"/>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 / 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21 / 77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14552331"/>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4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16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83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66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08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2745"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24" name="Title 2">
            <a:extLst>
              <a:ext uri="{FF2B5EF4-FFF2-40B4-BE49-F238E27FC236}">
                <a16:creationId xmlns:a16="http://schemas.microsoft.com/office/drawing/2014/main" id="{A754FB7B-0778-4E7A-AF7D-6DF6310760FF}"/>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2/4)</a:t>
            </a:r>
            <a:endParaRPr lang="nl-NL" dirty="0"/>
          </a:p>
        </p:txBody>
      </p:sp>
    </p:spTree>
    <p:extLst>
      <p:ext uri="{BB962C8B-B14F-4D97-AF65-F5344CB8AC3E}">
        <p14:creationId xmlns:p14="http://schemas.microsoft.com/office/powerpoint/2010/main" val="18956214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50738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Jeug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415983418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B3713C9-BE99-4B3B-8628-0AFFDB7006B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31" name="Group 30">
            <a:extLst>
              <a:ext uri="{FF2B5EF4-FFF2-40B4-BE49-F238E27FC236}">
                <a16:creationId xmlns:a16="http://schemas.microsoft.com/office/drawing/2014/main" id="{2FAFB4AF-CFCE-479E-9D86-61182DD1FD22}"/>
              </a:ext>
            </a:extLst>
          </p:cNvPr>
          <p:cNvGrpSpPr/>
          <p:nvPr/>
        </p:nvGrpSpPr>
        <p:grpSpPr>
          <a:xfrm>
            <a:off x="707973" y="316389"/>
            <a:ext cx="465286" cy="402724"/>
            <a:chOff x="9659003" y="256554"/>
            <a:chExt cx="2006158" cy="1736412"/>
          </a:xfrm>
          <a:solidFill>
            <a:srgbClr val="22777B"/>
          </a:solidFill>
        </p:grpSpPr>
        <p:pic>
          <p:nvPicPr>
            <p:cNvPr id="37" name="Graphic 36" descr="School girl">
              <a:extLst>
                <a:ext uri="{FF2B5EF4-FFF2-40B4-BE49-F238E27FC236}">
                  <a16:creationId xmlns:a16="http://schemas.microsoft.com/office/drawing/2014/main" id="{B1A00CA5-423D-4D6C-AA6C-C78513A4E97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59003" y="256554"/>
              <a:ext cx="1392448" cy="1392448"/>
            </a:xfrm>
            <a:prstGeom prst="rect">
              <a:avLst/>
            </a:prstGeom>
          </p:spPr>
        </p:pic>
        <p:pic>
          <p:nvPicPr>
            <p:cNvPr id="38" name="Graphic 37" descr="School boy">
              <a:extLst>
                <a:ext uri="{FF2B5EF4-FFF2-40B4-BE49-F238E27FC236}">
                  <a16:creationId xmlns:a16="http://schemas.microsoft.com/office/drawing/2014/main" id="{028E111E-3368-4D12-946B-CB9773FB930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72713" y="600518"/>
              <a:ext cx="1392448" cy="1392448"/>
            </a:xfrm>
            <a:prstGeom prst="rect">
              <a:avLst/>
            </a:prstGeom>
          </p:spPr>
        </p:pic>
      </p:grpSp>
      <p:sp>
        <p:nvSpPr>
          <p:cNvPr id="41" name="Title 2">
            <a:extLst>
              <a:ext uri="{FF2B5EF4-FFF2-40B4-BE49-F238E27FC236}">
                <a16:creationId xmlns:a16="http://schemas.microsoft.com/office/drawing/2014/main" id="{33F36CE5-0985-429E-91C9-ED5931A801D3}"/>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3/4)</a:t>
            </a:r>
            <a:endParaRPr lang="nl-NL" dirty="0"/>
          </a:p>
        </p:txBody>
      </p:sp>
    </p:spTree>
    <p:extLst>
      <p:ext uri="{BB962C8B-B14F-4D97-AF65-F5344CB8AC3E}">
        <p14:creationId xmlns:p14="http://schemas.microsoft.com/office/powerpoint/2010/main" val="5902383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034968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894472859"/>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s lang psychisch medicijngebrui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 2 of meer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O leerlingen, leerlingengewicht 1,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 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O leerlingen, leerlingengewicht 0,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7,9</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666110924"/>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999227302"/>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gdij 18 plu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Transformatiefonds SD Jeug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uppletie uitkering IUS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8</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289589639"/>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AD0DDC1-E0F8-4637-A4B2-7C679286992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22" name="Group 21">
            <a:extLst>
              <a:ext uri="{FF2B5EF4-FFF2-40B4-BE49-F238E27FC236}">
                <a16:creationId xmlns:a16="http://schemas.microsoft.com/office/drawing/2014/main" id="{9CA5751C-6E18-4CA1-B69B-FB791C62D4E8}"/>
              </a:ext>
            </a:extLst>
          </p:cNvPr>
          <p:cNvGrpSpPr/>
          <p:nvPr/>
        </p:nvGrpSpPr>
        <p:grpSpPr>
          <a:xfrm>
            <a:off x="707973" y="316389"/>
            <a:ext cx="465286" cy="402724"/>
            <a:chOff x="9659003" y="256554"/>
            <a:chExt cx="2006158" cy="1736412"/>
          </a:xfrm>
          <a:solidFill>
            <a:srgbClr val="22777B"/>
          </a:solidFill>
        </p:grpSpPr>
        <p:pic>
          <p:nvPicPr>
            <p:cNvPr id="24" name="Graphic 23" descr="School girl">
              <a:extLst>
                <a:ext uri="{FF2B5EF4-FFF2-40B4-BE49-F238E27FC236}">
                  <a16:creationId xmlns:a16="http://schemas.microsoft.com/office/drawing/2014/main" id="{61DBC9F1-3335-4B8C-9C75-6300D1BA8D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659003" y="256554"/>
              <a:ext cx="1392448" cy="1392448"/>
            </a:xfrm>
            <a:prstGeom prst="rect">
              <a:avLst/>
            </a:prstGeom>
          </p:spPr>
        </p:pic>
        <p:pic>
          <p:nvPicPr>
            <p:cNvPr id="25" name="Graphic 24" descr="School boy">
              <a:extLst>
                <a:ext uri="{FF2B5EF4-FFF2-40B4-BE49-F238E27FC236}">
                  <a16:creationId xmlns:a16="http://schemas.microsoft.com/office/drawing/2014/main" id="{1B52E8F1-92E5-425D-883F-93BCFC70F1D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72713" y="600518"/>
              <a:ext cx="1392448" cy="1392448"/>
            </a:xfrm>
            <a:prstGeom prst="rect">
              <a:avLst/>
            </a:prstGeom>
          </p:spPr>
        </p:pic>
      </p:grpSp>
      <p:sp>
        <p:nvSpPr>
          <p:cNvPr id="26" name="Title 2">
            <a:extLst>
              <a:ext uri="{FF2B5EF4-FFF2-40B4-BE49-F238E27FC236}">
                <a16:creationId xmlns:a16="http://schemas.microsoft.com/office/drawing/2014/main" id="{4B6E29CB-FAB4-4C14-9BCD-6AD7C4815A0A}"/>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4/4)</a:t>
            </a:r>
            <a:endParaRPr lang="nl-NL" dirty="0"/>
          </a:p>
        </p:txBody>
      </p:sp>
    </p:spTree>
    <p:extLst>
      <p:ext uri="{BB962C8B-B14F-4D97-AF65-F5344CB8AC3E}">
        <p14:creationId xmlns:p14="http://schemas.microsoft.com/office/powerpoint/2010/main" val="35272709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02D507C-AE64-4439-B581-B270569CC3C5}"/>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B484257F-D8BC-4167-9DAC-46B43E1D42AC}"/>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0AF20B6-BC73-4DB5-8984-952F089698C0}"/>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7F904F6A-0DDD-4A38-8C80-D93E6266692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AAEBA7F5-EE04-4DE5-BDCB-706133136D49}"/>
              </a:ext>
            </a:extLst>
          </p:cNvPr>
          <p:cNvSpPr txBox="1">
            <a:spLocks/>
          </p:cNvSpPr>
          <p:nvPr/>
        </p:nvSpPr>
        <p:spPr>
          <a:xfrm>
            <a:off x="3755089"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Maatschappelijke ondersteuning</a:t>
            </a:r>
          </a:p>
        </p:txBody>
      </p:sp>
      <p:sp>
        <p:nvSpPr>
          <p:cNvPr id="111" name="Text Placeholder 5">
            <a:hlinkClick r:id="rId16" action="ppaction://hlinksldjump"/>
            <a:extLst>
              <a:ext uri="{FF2B5EF4-FFF2-40B4-BE49-F238E27FC236}">
                <a16:creationId xmlns:a16="http://schemas.microsoft.com/office/drawing/2014/main" id="{258537A6-2153-4F9D-830E-1BCBCAF774A8}"/>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6F62A3F-9D27-42BF-B5EC-149957E3273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BC5A8FD7-8822-4602-A65C-89CFE10BAF3E}"/>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68BEF2A-515D-4A83-8F36-F7CA85CEFDD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C8225134-45D0-452D-90E2-D8EC0CC8CC6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9F376420-9228-4B71-A9D4-371469037185}"/>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CB130CA-4E7A-4830-ACF1-5212C3A2BD7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2C7CC1BB-2669-487D-96C8-5C217B4FD8E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A27C8E88-1D62-4A03-880F-E874C7E06B80}"/>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97CE9B5E-B7C9-443E-BFBF-33A6372DD9B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5857822-6132-4157-A3A9-277C366E74E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5D7D7D-79CB-4CC1-9358-28B8FAE31A3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3C385BD-385A-476B-B221-7B265548C7D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1D0A96A-2742-401C-A56E-63D36A705811}"/>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8B9D5CBA-846D-4A4A-B32E-BE8A6CE3E5A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5C93078-4F9F-46AF-91DC-4ACC5EA4B9B9}"/>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21DE2C5B-098C-4174-BE12-91C8FA3DEF9F}"/>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17EB07A9-B942-48A0-8C85-28B1224EE28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15FBD6D-A4C7-43E0-A541-8A642FB59A34}"/>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033B8B13-8298-4A56-98AB-816495B2DB58}"/>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5FA6BEC-544C-4671-91FB-06E30590C52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1E4700C4-C1D9-483E-9160-E207209539D0}"/>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310B56-E74C-4685-9FB8-E8C3383BBE33}"/>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3166079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387525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maatschappelijk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543957535"/>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718395931"/>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359354071"/>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020</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2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2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76425D30-F449-4FEA-9210-B3CCC854D615}"/>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7" name="Title 2">
            <a:extLst>
              <a:ext uri="{FF2B5EF4-FFF2-40B4-BE49-F238E27FC236}">
                <a16:creationId xmlns:a16="http://schemas.microsoft.com/office/drawing/2014/main" id="{8B5BF174-DE99-41C6-B554-72439C0F5A30}"/>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1/4)</a:t>
            </a:r>
            <a:endParaRPr lang="nl-NL" dirty="0"/>
          </a:p>
        </p:txBody>
      </p:sp>
      <p:pic>
        <p:nvPicPr>
          <p:cNvPr id="20" name="Content Placeholder 155" descr="Care">
            <a:extLst>
              <a:ext uri="{FF2B5EF4-FFF2-40B4-BE49-F238E27FC236}">
                <a16:creationId xmlns:a16="http://schemas.microsoft.com/office/drawing/2014/main" id="{EABB7555-D9EF-40D7-B734-6A56BED4560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391558"/>
            <a:ext cx="312974" cy="312974"/>
          </a:xfrm>
          <a:prstGeom prst="rect">
            <a:avLst/>
          </a:prstGeom>
        </p:spPr>
      </p:pic>
      <p:grpSp>
        <p:nvGrpSpPr>
          <p:cNvPr id="21" name="Group 20">
            <a:extLst>
              <a:ext uri="{FF2B5EF4-FFF2-40B4-BE49-F238E27FC236}">
                <a16:creationId xmlns:a16="http://schemas.microsoft.com/office/drawing/2014/main" id="{B7C2C6CE-046D-4CA0-A5F5-D3DC0D2EE906}"/>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23E660D-6CD6-447B-8839-33060054A076}"/>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D6991932-E3D5-43A6-8796-36CA098BA8B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F1ECC2F-E6D9-4F73-8CEC-4D5C91B9CC5C}"/>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2F60B7A6-9DE3-428A-B815-DFB099BE5DD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82D6DE01-0081-4F51-9D05-567BABB7123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5975107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4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555266689"/>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873764270"/>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752 / 2.49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39318516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2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5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6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19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0.14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9657"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062854C-6F82-4E75-B331-964F986B351D}"/>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8" name="Title 2">
            <a:extLst>
              <a:ext uri="{FF2B5EF4-FFF2-40B4-BE49-F238E27FC236}">
                <a16:creationId xmlns:a16="http://schemas.microsoft.com/office/drawing/2014/main" id="{1B6828E0-3296-453E-A72E-7F86ED0196BF}"/>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2/4)</a:t>
            </a:r>
            <a:endParaRPr lang="nl-NL" dirty="0"/>
          </a:p>
        </p:txBody>
      </p:sp>
      <p:pic>
        <p:nvPicPr>
          <p:cNvPr id="19" name="Content Placeholder 155" descr="Care">
            <a:extLst>
              <a:ext uri="{FF2B5EF4-FFF2-40B4-BE49-F238E27FC236}">
                <a16:creationId xmlns:a16="http://schemas.microsoft.com/office/drawing/2014/main" id="{6A564D62-D556-4A12-B82A-13FC77AFC9C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9322098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Totale uitkering gemeentefonds in 2020 is 32,3 miljard</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2072102000"/>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8"/>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9,0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 per cluster. Deze zijn door gemeenten naar eigen inzicht te bested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anvullend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5,8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 met een geoormerkt doel.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middel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5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Mindering van 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 op basis van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verdienvermogen gemeente (ozb waarde)</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32,3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incl. aanvullen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al algeme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6,4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25466225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37426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Maatschappelijke ondersteu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74743891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15911D19-0670-4C8B-A62B-3E9BF673348C}"/>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31" name="Title 2">
            <a:extLst>
              <a:ext uri="{FF2B5EF4-FFF2-40B4-BE49-F238E27FC236}">
                <a16:creationId xmlns:a16="http://schemas.microsoft.com/office/drawing/2014/main" id="{5B725B3F-9A74-4B5E-B728-02AB1E174E68}"/>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3/4)</a:t>
            </a:r>
            <a:endParaRPr lang="nl-NL" dirty="0"/>
          </a:p>
        </p:txBody>
      </p:sp>
      <p:pic>
        <p:nvPicPr>
          <p:cNvPr id="37" name="Content Placeholder 155" descr="Care">
            <a:extLst>
              <a:ext uri="{FF2B5EF4-FFF2-40B4-BE49-F238E27FC236}">
                <a16:creationId xmlns:a16="http://schemas.microsoft.com/office/drawing/2014/main" id="{917F4C7C-2DDB-422E-8B35-BB92EC451C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8484009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6975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830260095"/>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Medicijngebruik met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ajong</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75 t/m 8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8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0,8</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581652816"/>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821385467"/>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M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rogramma Sociaal domei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612669028"/>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A20F8A7-BA63-40B2-8C5D-0D52EA3BDEA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22" name="Title 2">
            <a:extLst>
              <a:ext uri="{FF2B5EF4-FFF2-40B4-BE49-F238E27FC236}">
                <a16:creationId xmlns:a16="http://schemas.microsoft.com/office/drawing/2014/main" id="{7D2C0563-295A-4684-952B-C659F830CAE5}"/>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4/4)</a:t>
            </a:r>
            <a:endParaRPr lang="nl-NL" dirty="0"/>
          </a:p>
        </p:txBody>
      </p:sp>
      <p:pic>
        <p:nvPicPr>
          <p:cNvPr id="24" name="Content Placeholder 155" descr="Care">
            <a:extLst>
              <a:ext uri="{FF2B5EF4-FFF2-40B4-BE49-F238E27FC236}">
                <a16:creationId xmlns:a16="http://schemas.microsoft.com/office/drawing/2014/main" id="{5A01C3D7-AE07-44DE-A10A-852422457C7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3887534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EC790471-3110-4A1B-92FE-20AC5B9E473D}"/>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794FF07-02C7-4BB8-9A05-23C4C280E9F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B8D131C-CD36-47D9-8292-31BBB28D2C6F}"/>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17EEE942-14A8-4D97-BF4A-045BA4330CE3}"/>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1B7CAE5-B4F6-4E4C-BADC-D6F2C4DAEFD3}"/>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911C0AA-4663-431C-B87C-1739E490E4B3}"/>
              </a:ext>
            </a:extLst>
          </p:cNvPr>
          <p:cNvSpPr txBox="1">
            <a:spLocks/>
          </p:cNvSpPr>
          <p:nvPr/>
        </p:nvSpPr>
        <p:spPr>
          <a:xfrm>
            <a:off x="3755089"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ducatie</a:t>
            </a:r>
          </a:p>
        </p:txBody>
      </p:sp>
      <p:sp>
        <p:nvSpPr>
          <p:cNvPr id="112" name="Text Placeholder 5">
            <a:hlinkClick r:id="rId17" action="ppaction://hlinksldjump"/>
            <a:extLst>
              <a:ext uri="{FF2B5EF4-FFF2-40B4-BE49-F238E27FC236}">
                <a16:creationId xmlns:a16="http://schemas.microsoft.com/office/drawing/2014/main" id="{3F7939EC-B1F7-4BB3-8A07-8CABA9DD919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B4F7B0F-1D23-46D3-9B79-44F44010FDB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42032F4-312D-4C05-95EF-BACFE66BACA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66A7ED8E-0943-4B01-839F-C2D47C0815B6}"/>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0CBCCAFB-F920-42A9-B251-0D934592625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341FC95E-5707-4795-9906-A08BF990CCF4}"/>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07E50F6C-AA49-4D11-9BBD-7785747E5BB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1D93ED6-BDE1-4B65-9203-0383FA82E02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EDD4153D-3CDF-4262-BD1D-405581F96E7F}"/>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90A1BAEE-E25C-4187-BAF6-84FDB6E5044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5FD2C719-4A82-4434-B0BE-6E284160D8A2}"/>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E8DDE3F-378D-4689-990B-6000A1AF7C7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349C648B-0E10-4376-9CFF-77106EA5A0E5}"/>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574BC343-037F-4279-AB79-F7F5E90C059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6F596A-AC9A-4D5A-A84B-0A85C6AD28D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FDFCC174-6FC8-4B3E-9F48-C712CF2ED40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9910C-5EE8-4530-9607-267A978F10A1}"/>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FB86B3B-2522-4EB4-AE19-1C4ABDCC2D9A}"/>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240118D0-B343-4BD2-962B-DAA59568111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8438238E-A62F-4318-A14C-CB3AAA171252}"/>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6FE44B59-1C6C-4301-88E7-A8856E7C098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06BC124-AEA8-4EA3-B22A-4C1A9C3FB828}"/>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9511937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204839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duc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4175645555"/>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763870369"/>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161380238"/>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6.100</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5.472</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5.472</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16" name="Title 2">
            <a:extLst>
              <a:ext uri="{FF2B5EF4-FFF2-40B4-BE49-F238E27FC236}">
                <a16:creationId xmlns:a16="http://schemas.microsoft.com/office/drawing/2014/main" id="{4B34A609-5033-4CFF-910E-8818ED835AC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7" name="Title 2">
            <a:extLst>
              <a:ext uri="{FF2B5EF4-FFF2-40B4-BE49-F238E27FC236}">
                <a16:creationId xmlns:a16="http://schemas.microsoft.com/office/drawing/2014/main" id="{D02FFAC1-7CD8-46F4-9690-DA380BBE4CE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1/4)</a:t>
            </a:r>
            <a:endParaRPr lang="nl-NL" dirty="0"/>
          </a:p>
        </p:txBody>
      </p:sp>
      <p:pic>
        <p:nvPicPr>
          <p:cNvPr id="20" name="Content Placeholder 12" descr="Classroom">
            <a:extLst>
              <a:ext uri="{FF2B5EF4-FFF2-40B4-BE49-F238E27FC236}">
                <a16:creationId xmlns:a16="http://schemas.microsoft.com/office/drawing/2014/main" id="{4A9EFAE6-F264-4D53-82D5-EEEB083864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33966" y="401708"/>
            <a:ext cx="392638" cy="392638"/>
          </a:xfrm>
          <a:prstGeom prst="rect">
            <a:avLst/>
          </a:prstGeom>
        </p:spPr>
      </p:pic>
      <p:grpSp>
        <p:nvGrpSpPr>
          <p:cNvPr id="21" name="Group 20">
            <a:extLst>
              <a:ext uri="{FF2B5EF4-FFF2-40B4-BE49-F238E27FC236}">
                <a16:creationId xmlns:a16="http://schemas.microsoft.com/office/drawing/2014/main" id="{13874304-DBFA-4AD5-BCC5-561BB3C7B9C7}"/>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1F51803-0594-4574-8CED-C4E31D70629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12B45F4-C90E-410C-94EE-C84D3E3ECCBB}"/>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52001643-8A4B-41F4-977E-301E49A1F2CB}"/>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BAA8EF5D-D34D-4750-9E69-30D41C9225B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284045E-7381-4C29-80DB-445A2E96B13D}"/>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403588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95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584593073"/>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848501724"/>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72 / 4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76529638"/>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4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16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83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66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08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92368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15123EFA-D5BA-4C73-8A70-5CBB34E4B0F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8" name="Title 2">
            <a:extLst>
              <a:ext uri="{FF2B5EF4-FFF2-40B4-BE49-F238E27FC236}">
                <a16:creationId xmlns:a16="http://schemas.microsoft.com/office/drawing/2014/main" id="{8F3099C5-A107-4D25-9E44-824894B2CE34}"/>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2/4)</a:t>
            </a:r>
            <a:endParaRPr lang="nl-NL" dirty="0"/>
          </a:p>
        </p:txBody>
      </p:sp>
      <p:pic>
        <p:nvPicPr>
          <p:cNvPr id="19" name="Content Placeholder 12" descr="Classroom">
            <a:extLst>
              <a:ext uri="{FF2B5EF4-FFF2-40B4-BE49-F238E27FC236}">
                <a16:creationId xmlns:a16="http://schemas.microsoft.com/office/drawing/2014/main" id="{D3E58DA2-DDEB-44B8-8CA6-AAE294AAF7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2339910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28482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duc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60046912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5322D84-5BA0-40A3-B650-137D479DD4A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31" name="Title 2">
            <a:extLst>
              <a:ext uri="{FF2B5EF4-FFF2-40B4-BE49-F238E27FC236}">
                <a16:creationId xmlns:a16="http://schemas.microsoft.com/office/drawing/2014/main" id="{A6DA86AF-4AFE-4435-A15F-D1A3B2E9BB3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3/4)</a:t>
            </a:r>
            <a:endParaRPr lang="nl-NL" dirty="0"/>
          </a:p>
        </p:txBody>
      </p:sp>
      <p:pic>
        <p:nvPicPr>
          <p:cNvPr id="37" name="Content Placeholder 12" descr="Classroom">
            <a:extLst>
              <a:ext uri="{FF2B5EF4-FFF2-40B4-BE49-F238E27FC236}">
                <a16:creationId xmlns:a16="http://schemas.microsoft.com/office/drawing/2014/main" id="{1F771734-AA55-46FD-B795-E3902F0F09D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16599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56318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871541599"/>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eerlingen (V)S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eerlingen V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nnenwat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6</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427008534"/>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066598749"/>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rschoolse voorz peut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anpak lerarentekort G4 2020-202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791372648"/>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1EC1EC81-80C3-4C4F-9335-A944E9E503C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22" name="Title 2">
            <a:extLst>
              <a:ext uri="{FF2B5EF4-FFF2-40B4-BE49-F238E27FC236}">
                <a16:creationId xmlns:a16="http://schemas.microsoft.com/office/drawing/2014/main" id="{EED03F3D-A6DE-4BE8-B47D-AFF3AFCB6086}"/>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4/4)</a:t>
            </a:r>
            <a:endParaRPr lang="nl-NL" dirty="0"/>
          </a:p>
        </p:txBody>
      </p:sp>
      <p:pic>
        <p:nvPicPr>
          <p:cNvPr id="24" name="Content Placeholder 12" descr="Classroom">
            <a:extLst>
              <a:ext uri="{FF2B5EF4-FFF2-40B4-BE49-F238E27FC236}">
                <a16:creationId xmlns:a16="http://schemas.microsoft.com/office/drawing/2014/main" id="{60339041-2702-4EA9-B09D-3B524351C8F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41855210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DD20F338-8C0C-46EB-9BE8-5F725C62DDF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70DCC09-3B19-4777-8C4B-FE3B293D232A}"/>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A7EC999-6D07-44EC-BB94-B894BA216C4C}"/>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F74F49A-DE0F-47D8-B117-A8F866C39D69}"/>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A5C9C61-9E2D-441A-B27B-CC4AF973112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A8E7F21B-BDB5-4C67-82B2-26F8B8555EC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020B8B69-153F-4565-9811-F345F38C5E66}"/>
              </a:ext>
            </a:extLst>
          </p:cNvPr>
          <p:cNvSpPr txBox="1">
            <a:spLocks/>
          </p:cNvSpPr>
          <p:nvPr/>
        </p:nvSpPr>
        <p:spPr>
          <a:xfrm>
            <a:off x="3755089"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Volksgezondheid</a:t>
            </a:r>
          </a:p>
        </p:txBody>
      </p:sp>
      <p:sp>
        <p:nvSpPr>
          <p:cNvPr id="113" name="Text Placeholder 5">
            <a:hlinkClick r:id="rId18" action="ppaction://hlinksldjump"/>
            <a:extLst>
              <a:ext uri="{FF2B5EF4-FFF2-40B4-BE49-F238E27FC236}">
                <a16:creationId xmlns:a16="http://schemas.microsoft.com/office/drawing/2014/main" id="{CB5BDD6F-AC97-4053-97A3-15A070983DD8}"/>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2491E16D-E232-4EB6-B711-885E47AF1DC2}"/>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48DDE0A9-311C-4DB2-B45B-DD3134F10710}"/>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8ECFD2C-64AB-46F8-BFC3-2B61443AE07D}"/>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8FFFA89-D6D0-4E03-8CE4-17B0453CB78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D2D5E4F-6B42-464F-92B6-A20408A6A4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C1761CF-628E-4BFE-8C90-323164A231CF}"/>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4FF7D5B9-03C1-433A-AE1B-426E9B7A08D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BBFD4D15-8606-4A72-B7DC-7A6F055491B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412A7CDE-004A-4A0A-B7AA-DB543A76E92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568F57CB-B7D3-440C-9CD3-87B4842FA7E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C7D1E6D-1995-49DC-AD65-2CCA65CD85B4}"/>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C40B87C2-4D33-4071-A1AB-EE212BEA9FC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545F0D08-299F-4719-8B2B-A7D23ED830AE}"/>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AF3DF0F8-FFCA-42A4-A7A3-DE2F52403EDB}"/>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C8B961F-1B54-44CA-A462-F971E1432A6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2399EFB4-9472-42B2-B288-260707706F28}"/>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89742976-2312-47C7-85AE-1F472060FDD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59E99FB-5ABE-4A7E-9D74-B4C6FD9E42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78E6B42C-9474-4320-9F99-35055C1F31C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98A996C-2405-48CB-BEA0-D034A611303F}"/>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1633492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15140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volksgezondhei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87772704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97831312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427262351"/>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020</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2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2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35FA7155-5C74-4808-98E2-6868B230BF5D}"/>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7" name="Title 2">
            <a:extLst>
              <a:ext uri="{FF2B5EF4-FFF2-40B4-BE49-F238E27FC236}">
                <a16:creationId xmlns:a16="http://schemas.microsoft.com/office/drawing/2014/main" id="{C4E2E47C-E67F-4B64-A535-4EEDF0D65BB3}"/>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1/4)</a:t>
            </a:r>
            <a:endParaRPr lang="nl-NL" dirty="0"/>
          </a:p>
        </p:txBody>
      </p:sp>
      <p:pic>
        <p:nvPicPr>
          <p:cNvPr id="20" name="Graphic 19" descr="Heart with pulse">
            <a:extLst>
              <a:ext uri="{FF2B5EF4-FFF2-40B4-BE49-F238E27FC236}">
                <a16:creationId xmlns:a16="http://schemas.microsoft.com/office/drawing/2014/main" id="{1E4622BB-21CC-4A8E-8941-4CE4D18FBB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97324"/>
            <a:ext cx="401406" cy="401406"/>
          </a:xfrm>
          <a:prstGeom prst="rect">
            <a:avLst/>
          </a:prstGeom>
        </p:spPr>
      </p:pic>
      <p:grpSp>
        <p:nvGrpSpPr>
          <p:cNvPr id="21" name="Group 20">
            <a:extLst>
              <a:ext uri="{FF2B5EF4-FFF2-40B4-BE49-F238E27FC236}">
                <a16:creationId xmlns:a16="http://schemas.microsoft.com/office/drawing/2014/main" id="{4A3FF16A-D310-4965-BC89-B308522C35E5}"/>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0F6A000A-E953-45E4-AB8C-B9ACDC88E62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8A4D5DF-7DD6-48D0-86BD-9D207468D32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3A5D021-452D-4BBC-B002-D5F554524AE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F8C30FFF-67CB-44DD-942F-D4453C478A90}"/>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3A9E629-74E1-42A1-A230-D7BAD2815E7A}"/>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7941479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946017159"/>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608573845"/>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6 / 2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98642992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2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5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6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19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0.14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89770"/>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224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256F9C28-EB10-457B-99D3-3CCA6F1401B7}"/>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8" name="Title 2">
            <a:extLst>
              <a:ext uri="{FF2B5EF4-FFF2-40B4-BE49-F238E27FC236}">
                <a16:creationId xmlns:a16="http://schemas.microsoft.com/office/drawing/2014/main" id="{7A199D62-CBE3-464A-AD47-F8C0DF6193A9}"/>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2/4)</a:t>
            </a:r>
            <a:endParaRPr lang="nl-NL" dirty="0"/>
          </a:p>
        </p:txBody>
      </p:sp>
      <p:pic>
        <p:nvPicPr>
          <p:cNvPr id="19" name="Graphic 18" descr="Heart with pulse">
            <a:extLst>
              <a:ext uri="{FF2B5EF4-FFF2-40B4-BE49-F238E27FC236}">
                <a16:creationId xmlns:a16="http://schemas.microsoft.com/office/drawing/2014/main" id="{8EA354F4-FC72-4C2F-B4E6-72BD1B4107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29509741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Het gemeentefonds ademt mee met de Rijksbegrot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13" name="Rectangle: Rounded Corners 12">
            <a:extLst>
              <a:ext uri="{FF2B5EF4-FFF2-40B4-BE49-F238E27FC236}">
                <a16:creationId xmlns:a16="http://schemas.microsoft.com/office/drawing/2014/main" id="{6873F69A-6993-46CC-8118-0679C836B5AF}"/>
              </a:ext>
            </a:extLst>
          </p:cNvPr>
          <p:cNvSpPr/>
          <p:nvPr/>
        </p:nvSpPr>
        <p:spPr>
          <a:xfrm>
            <a:off x="137850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6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1. Uitkering per cluste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Per cluster wordt op basis van de maatstaven en de de uitkeringen per eenheid een uitkering per cluster bepaald. Voorbeelden van clusters zijn Educatie, Jeugd etc.</a:t>
            </a:r>
          </a:p>
        </p:txBody>
      </p:sp>
      <p:sp>
        <p:nvSpPr>
          <p:cNvPr id="14" name="Rectangle: Rounded Corners 13">
            <a:extLst>
              <a:ext uri="{FF2B5EF4-FFF2-40B4-BE49-F238E27FC236}">
                <a16:creationId xmlns:a16="http://schemas.microsoft.com/office/drawing/2014/main" id="{71115404-51EA-4F3A-AB71-847671E133DE}"/>
              </a:ext>
            </a:extLst>
          </p:cNvPr>
          <p:cNvSpPr/>
          <p:nvPr/>
        </p:nvSpPr>
        <p:spPr>
          <a:xfrm>
            <a:off x="4710017"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2. Uitkeringsfacto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De uitkeringsfactor is één getal waarmee de totale uitkering uit het gemeentefonds wordt vermenigvuldigt. In 2020 bedraagt deze factor 1,612 </a:t>
            </a:r>
            <a:b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in 2019: 1,537)</a:t>
            </a: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804153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3. Totale uitkering</a:t>
            </a:r>
          </a:p>
        </p:txBody>
      </p:sp>
      <p:sp>
        <p:nvSpPr>
          <p:cNvPr id="2" name="Multiplication Sign 1">
            <a:extLst>
              <a:ext uri="{FF2B5EF4-FFF2-40B4-BE49-F238E27FC236}">
                <a16:creationId xmlns:a16="http://schemas.microsoft.com/office/drawing/2014/main" id="{AF71C740-E3AA-4667-A457-049928AAD794}"/>
              </a:ext>
            </a:extLst>
          </p:cNvPr>
          <p:cNvSpPr/>
          <p:nvPr/>
        </p:nvSpPr>
        <p:spPr>
          <a:xfrm>
            <a:off x="4165932" y="2959291"/>
            <a:ext cx="532924" cy="532924"/>
          </a:xfrm>
          <a:prstGeom prst="mathMultiply">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5" name="Equals 4">
            <a:extLst>
              <a:ext uri="{FF2B5EF4-FFF2-40B4-BE49-F238E27FC236}">
                <a16:creationId xmlns:a16="http://schemas.microsoft.com/office/drawing/2014/main" id="{D498DC1B-CA2A-4100-9A61-7E4B1A588335}"/>
              </a:ext>
            </a:extLst>
          </p:cNvPr>
          <p:cNvSpPr/>
          <p:nvPr/>
        </p:nvSpPr>
        <p:spPr>
          <a:xfrm>
            <a:off x="7554807" y="2991671"/>
            <a:ext cx="418204" cy="418204"/>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6" name="Arrow: Right 5">
            <a:extLst>
              <a:ext uri="{FF2B5EF4-FFF2-40B4-BE49-F238E27FC236}">
                <a16:creationId xmlns:a16="http://schemas.microsoft.com/office/drawing/2014/main" id="{F7EE13A2-340C-4648-A1F6-ED1B9AC1F37A}"/>
              </a:ext>
            </a:extLst>
          </p:cNvPr>
          <p:cNvSpPr/>
          <p:nvPr/>
        </p:nvSpPr>
        <p:spPr>
          <a:xfrm rot="16200000">
            <a:off x="5139523" y="2487351"/>
            <a:ext cx="1926455" cy="4832202"/>
          </a:xfrm>
          <a:prstGeom prst="rightArrow">
            <a:avLst>
              <a:gd name="adj1" fmla="val 100000"/>
              <a:gd name="adj2" fmla="val 22590"/>
            </a:avLst>
          </a:prstGeom>
          <a:solidFill>
            <a:srgbClr val="D9F3F4"/>
          </a:solidFill>
        </p:spPr>
        <p:txBody>
          <a:bodyPr rot="0" spcFirstLastPara="0" vertOverflow="overflow" horzOverflow="overflow" vert="vert" wrap="square" lIns="72000" tIns="72000" rIns="72000" bIns="72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Wanneer de begroting van het Rijk toeneemt of afneemt in omvang wordt dit vertaald in de uitkeringsfactor. Wanneer de Rijksbegroting 2% krimpt zal dus ook de uitkering via het gemeentefonds 2% krimpen. Dit wordt mee ademen genoem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Let op: deze systematiek geldt alleen voor de algemene uitkeringen, niet voor de aanvullende uitkeringen.</a:t>
            </a:r>
          </a:p>
        </p:txBody>
      </p:sp>
      <p:sp>
        <p:nvSpPr>
          <p:cNvPr id="17" name="Text Placeholder 14">
            <a:extLst>
              <a:ext uri="{FF2B5EF4-FFF2-40B4-BE49-F238E27FC236}">
                <a16:creationId xmlns:a16="http://schemas.microsoft.com/office/drawing/2014/main" id="{0EB7A21A-0F2E-4FDD-9A30-7AE010EA922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188490680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26533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Volksgezondheid,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832486963"/>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C8E8E997-F438-4E68-A76A-F78113D1E578}"/>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31" name="Title 2">
            <a:extLst>
              <a:ext uri="{FF2B5EF4-FFF2-40B4-BE49-F238E27FC236}">
                <a16:creationId xmlns:a16="http://schemas.microsoft.com/office/drawing/2014/main" id="{47CBC254-3F52-4674-932E-FA0D2E4A35BB}"/>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3/4)</a:t>
            </a:r>
            <a:endParaRPr lang="nl-NL" dirty="0"/>
          </a:p>
        </p:txBody>
      </p:sp>
      <p:pic>
        <p:nvPicPr>
          <p:cNvPr id="37" name="Graphic 36" descr="Heart with pulse">
            <a:extLst>
              <a:ext uri="{FF2B5EF4-FFF2-40B4-BE49-F238E27FC236}">
                <a16:creationId xmlns:a16="http://schemas.microsoft.com/office/drawing/2014/main" id="{47BA5E0B-4DF6-4421-A665-B813CFADC24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4449581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17194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765944206"/>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713554047"/>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229732235"/>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Gezondsheidsachterstan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660420489"/>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8B218C75-E389-4CEA-9F1A-E95F3712145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22" name="Title 2">
            <a:extLst>
              <a:ext uri="{FF2B5EF4-FFF2-40B4-BE49-F238E27FC236}">
                <a16:creationId xmlns:a16="http://schemas.microsoft.com/office/drawing/2014/main" id="{8454B491-4FAE-49C1-8496-4093D75FC05F}"/>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4/4)</a:t>
            </a:r>
            <a:endParaRPr lang="nl-NL" dirty="0"/>
          </a:p>
        </p:txBody>
      </p:sp>
      <p:pic>
        <p:nvPicPr>
          <p:cNvPr id="24" name="Graphic 23" descr="Heart with pulse">
            <a:extLst>
              <a:ext uri="{FF2B5EF4-FFF2-40B4-BE49-F238E27FC236}">
                <a16:creationId xmlns:a16="http://schemas.microsoft.com/office/drawing/2014/main" id="{24D0AA0E-77D4-4FC7-B8A5-3A98B61415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7676197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BC9762EF-A2F3-454C-813B-F6C9CC8F58C8}"/>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4E96A2DC-796D-463D-9D47-5493E8F40638}"/>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FB29746C-E17B-430D-962E-45B074E1C2F7}"/>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F152F3BD-4C78-408B-926A-E3156776058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C8D2EA7A-7BA3-48F4-BCAA-FAE865DFECA5}"/>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0011DA2-DA6B-4D98-8D2C-83E1072EE956}"/>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96256A2-A9EB-4DFD-91F3-8A33A79DF519}"/>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9F22348-62C3-4300-BB5A-5437CBC1833D}"/>
              </a:ext>
            </a:extLst>
          </p:cNvPr>
          <p:cNvSpPr txBox="1">
            <a:spLocks/>
          </p:cNvSpPr>
          <p:nvPr/>
        </p:nvSpPr>
        <p:spPr>
          <a:xfrm>
            <a:off x="3755089"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Cultuur en ontspanning</a:t>
            </a:r>
          </a:p>
        </p:txBody>
      </p:sp>
      <p:sp>
        <p:nvSpPr>
          <p:cNvPr id="114" name="Text Placeholder 5">
            <a:hlinkClick r:id="rId19" action="ppaction://hlinksldjump"/>
            <a:extLst>
              <a:ext uri="{FF2B5EF4-FFF2-40B4-BE49-F238E27FC236}">
                <a16:creationId xmlns:a16="http://schemas.microsoft.com/office/drawing/2014/main" id="{24062C32-BF5A-4F98-AC13-1E29F87F6C56}"/>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054BFEE2-8141-4E19-AEE9-9559F7492EA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DB72C752-A275-4521-9124-992FB0CCA9A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C870623-D88C-48FE-BBE8-5AB708AE08D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A3A7B1E-0148-4362-902C-4A08BE8718B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61CB7D11-38C9-4FCE-972A-3F9EC6D05443}"/>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AF61986E-9713-4DFB-9DF3-83050C4CAB06}"/>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0D71B7D3-2E52-4A13-B8A9-EA9D1F04BF8A}"/>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268C2ABF-1C44-481F-827F-5A7905BDAFA8}"/>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A4E58D83-3DCF-4C00-8AA6-889C559992E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C46A1D3-059F-4F5F-8D1A-377984757FC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4303F43A-E658-4BFD-9CA8-408EA38A546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AC620FDB-F974-4E01-815F-3FB97FD559B3}"/>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BB1E0E09-8029-4566-BE20-6DE63941D025}"/>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FDA7D767-6B84-4992-8B9A-1D17A6AC13F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127FF6F-33E9-4C4F-B049-E870CD1C8F7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D88518E2-639A-4DFF-9937-3D91B1ACDD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9C32AABF-50D9-4E87-9DF4-676DD27F87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91DB6D51-2E68-4D2A-A1D0-494E5D9122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F786BFA6-C404-4A8B-A298-2F10DB2EB8D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726497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244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cultuur en ontspann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084735531"/>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769894820"/>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020</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2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2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E5BD45C8-23C0-49BF-AB08-1109F3F8677A}"/>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7" name="Title 2">
            <a:extLst>
              <a:ext uri="{FF2B5EF4-FFF2-40B4-BE49-F238E27FC236}">
                <a16:creationId xmlns:a16="http://schemas.microsoft.com/office/drawing/2014/main" id="{6FBA9506-B85E-4824-A6C0-C1172ADA4E3C}"/>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1/4)</a:t>
            </a:r>
            <a:endParaRPr lang="nl-NL" dirty="0"/>
          </a:p>
        </p:txBody>
      </p:sp>
      <p:pic>
        <p:nvPicPr>
          <p:cNvPr id="20" name="Graphic 19" descr="Ticket">
            <a:extLst>
              <a:ext uri="{FF2B5EF4-FFF2-40B4-BE49-F238E27FC236}">
                <a16:creationId xmlns:a16="http://schemas.microsoft.com/office/drawing/2014/main" id="{CF65FF2C-01FF-42F3-888C-5383B96C8FF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41892"/>
            <a:ext cx="452818" cy="452818"/>
          </a:xfrm>
          <a:prstGeom prst="rect">
            <a:avLst/>
          </a:prstGeom>
        </p:spPr>
      </p:pic>
      <p:grpSp>
        <p:nvGrpSpPr>
          <p:cNvPr id="21" name="Group 20">
            <a:extLst>
              <a:ext uri="{FF2B5EF4-FFF2-40B4-BE49-F238E27FC236}">
                <a16:creationId xmlns:a16="http://schemas.microsoft.com/office/drawing/2014/main" id="{E1F6B8DE-1717-4F20-B05D-66355878551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E83EA3BD-9F6F-4B14-B55E-B3A259A3EAAB}"/>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4AD7618B-3FCC-45AA-BACC-5D3D9951A0B9}"/>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8F8185FC-1688-40DD-916B-35EE8E43832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AF5A1500-A212-4AE8-8512-1FB85D289717}"/>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BC5C636D-4F6D-4FE7-9066-DA5B5707A37E}"/>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3377499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3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4292021243"/>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968000923"/>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98 / 9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553857046"/>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2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5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6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19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0.14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79137"/>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3"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3F68B64D-2068-48B1-96E0-4B540B8F1B12}"/>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8" name="Title 2">
            <a:extLst>
              <a:ext uri="{FF2B5EF4-FFF2-40B4-BE49-F238E27FC236}">
                <a16:creationId xmlns:a16="http://schemas.microsoft.com/office/drawing/2014/main" id="{84C5568F-3EE5-43BC-AAD2-3407B7FFF2C0}"/>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2/4)</a:t>
            </a:r>
            <a:endParaRPr lang="nl-NL" dirty="0"/>
          </a:p>
        </p:txBody>
      </p:sp>
      <p:pic>
        <p:nvPicPr>
          <p:cNvPr id="19" name="Graphic 18" descr="Ticket">
            <a:extLst>
              <a:ext uri="{FF2B5EF4-FFF2-40B4-BE49-F238E27FC236}">
                <a16:creationId xmlns:a16="http://schemas.microsoft.com/office/drawing/2014/main" id="{763938D9-BFD2-4189-9B87-DADE6A33633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3285808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62280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Cultuur en ontspan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186389228"/>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535BDFD-4EBE-4279-958D-77DCDF8168B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31" name="Title 2">
            <a:extLst>
              <a:ext uri="{FF2B5EF4-FFF2-40B4-BE49-F238E27FC236}">
                <a16:creationId xmlns:a16="http://schemas.microsoft.com/office/drawing/2014/main" id="{4FB8B454-4277-41A4-8F6B-FF94C92F7CDB}"/>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3/4)</a:t>
            </a:r>
            <a:endParaRPr lang="nl-NL" dirty="0"/>
          </a:p>
        </p:txBody>
      </p:sp>
      <p:pic>
        <p:nvPicPr>
          <p:cNvPr id="37" name="Graphic 36" descr="Ticket">
            <a:extLst>
              <a:ext uri="{FF2B5EF4-FFF2-40B4-BE49-F238E27FC236}">
                <a16:creationId xmlns:a16="http://schemas.microsoft.com/office/drawing/2014/main" id="{9F5800B8-7D10-4BE0-8944-95C84A0B83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2357508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8940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215663157"/>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historische kernen &lt;40 ha</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dirty="0">
                          <a:solidFill>
                            <a:sysClr val="windowText" lastClr="000000"/>
                          </a:solidFill>
                        </a:rPr>
                        <a:t>X,x ml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573878584"/>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101063653"/>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Combinatiefunctie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bliotheekmiddel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316243469"/>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260D3F2C-09DE-4E31-B8ED-DC31DCA3710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22" name="Title 2">
            <a:extLst>
              <a:ext uri="{FF2B5EF4-FFF2-40B4-BE49-F238E27FC236}">
                <a16:creationId xmlns:a16="http://schemas.microsoft.com/office/drawing/2014/main" id="{E8B3EB5D-0223-47F2-9AA8-B9798B360C75}"/>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4/4)</a:t>
            </a:r>
            <a:endParaRPr lang="nl-NL" dirty="0"/>
          </a:p>
        </p:txBody>
      </p:sp>
      <p:pic>
        <p:nvPicPr>
          <p:cNvPr id="24" name="Graphic 23" descr="Ticket">
            <a:extLst>
              <a:ext uri="{FF2B5EF4-FFF2-40B4-BE49-F238E27FC236}">
                <a16:creationId xmlns:a16="http://schemas.microsoft.com/office/drawing/2014/main" id="{EB963BED-398B-4C62-B850-461AAFA4D2C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4220567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FC62BC03-31E5-4FCA-AAA5-6665C3B080F4}"/>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A220D19B-807E-45CD-98C2-9B0B0E68D94D}"/>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6EEE24D4-1C87-4C50-A46B-BB2748CB1F9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03D7377-259B-4D5E-9A19-482F7032269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2EA9FFE1-BB7E-44EB-A101-002E595C0C68}"/>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A285242-80B2-4971-8F65-384CEBDD80AC}"/>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80A31243-63AC-4B61-BC2D-722BFE4871E6}"/>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8010DFB-5DA7-412C-9E65-9D9B0CD3AAD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4BDEFC2-192E-48F8-8AC0-E1229BF69275}"/>
              </a:ext>
            </a:extLst>
          </p:cNvPr>
          <p:cNvSpPr txBox="1">
            <a:spLocks/>
          </p:cNvSpPr>
          <p:nvPr/>
        </p:nvSpPr>
        <p:spPr>
          <a:xfrm>
            <a:off x="622228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frastructuur en gebiedsontwikkeling</a:t>
            </a:r>
          </a:p>
        </p:txBody>
      </p:sp>
      <p:sp>
        <p:nvSpPr>
          <p:cNvPr id="115" name="Text Placeholder 5">
            <a:hlinkClick r:id="rId20" action="ppaction://hlinksldjump"/>
            <a:extLst>
              <a:ext uri="{FF2B5EF4-FFF2-40B4-BE49-F238E27FC236}">
                <a16:creationId xmlns:a16="http://schemas.microsoft.com/office/drawing/2014/main" id="{E4075C3F-5D1B-480A-90AD-4EE455FEEC9D}"/>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7340FBB1-2146-4F38-9345-ECA77C1D788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7E941240-50DD-4ED2-B21B-9DE85CF8A060}"/>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794D9EC-0264-4253-A5FC-8C80E211F5D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4E1BE79F-03E9-4706-A5AA-68DA0AF899D8}"/>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D2D2E3E-A1B7-449A-B359-AB2B1F1D1A48}"/>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6B36AAB6-6A92-4E89-B656-A68F18018E9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6718D6B2-A6FE-4291-86EC-C9396A655E8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FF8D7EE3-46D7-46A2-B8A1-05678518587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8701A7A-4F80-4FBA-904D-59DCE13F511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788FD68E-1EF4-418C-9A51-7689D900B51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8468A661-2798-4375-ABB1-5221D4F32B8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17055A1-63C7-4B68-99C4-BD197365C86A}"/>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667AC-C1F3-4E01-86E5-ED3E34FA5D38}"/>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24D891F-7D8D-46AA-BBF6-96BFA418008B}"/>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9E5049D-7480-4E39-9AD8-6B159017C7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6AE7021-5A80-46F8-B8CA-3A83E1A6A17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A9CA9FE-6C6B-4B22-A3AE-8A4B31F88FD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F7A7B2-554C-4CEA-B02D-9986731A76B9}"/>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7590083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5519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frastructuur en gebiedsontwikkel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020051328"/>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5386482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4188137597"/>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91888CF7-F7B5-42E4-95B3-8C74A196FEFB}"/>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7" name="Title 2">
            <a:extLst>
              <a:ext uri="{FF2B5EF4-FFF2-40B4-BE49-F238E27FC236}">
                <a16:creationId xmlns:a16="http://schemas.microsoft.com/office/drawing/2014/main" id="{2FC36238-92F7-4FEF-A232-2D7B8DF32EE3}"/>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1/4)</a:t>
            </a:r>
            <a:endParaRPr lang="nl-NL" dirty="0"/>
          </a:p>
        </p:txBody>
      </p:sp>
      <p:grpSp>
        <p:nvGrpSpPr>
          <p:cNvPr id="20" name="Group 19">
            <a:extLst>
              <a:ext uri="{FF2B5EF4-FFF2-40B4-BE49-F238E27FC236}">
                <a16:creationId xmlns:a16="http://schemas.microsoft.com/office/drawing/2014/main" id="{82E5A050-4310-4FD6-9C6E-D8A115DF7D5D}"/>
              </a:ext>
            </a:extLst>
          </p:cNvPr>
          <p:cNvGrpSpPr/>
          <p:nvPr/>
        </p:nvGrpSpPr>
        <p:grpSpPr>
          <a:xfrm>
            <a:off x="706182" y="401324"/>
            <a:ext cx="420422" cy="331917"/>
            <a:chOff x="4649729" y="2872903"/>
            <a:chExt cx="1158226" cy="914400"/>
          </a:xfrm>
          <a:solidFill>
            <a:srgbClr val="22777B"/>
          </a:solidFill>
        </p:grpSpPr>
        <p:pic>
          <p:nvPicPr>
            <p:cNvPr id="21" name="Graphic 20" descr="Excavator">
              <a:extLst>
                <a:ext uri="{FF2B5EF4-FFF2-40B4-BE49-F238E27FC236}">
                  <a16:creationId xmlns:a16="http://schemas.microsoft.com/office/drawing/2014/main" id="{B1E67FBE-569A-4867-B8B3-D686C25BBFD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49729" y="3290873"/>
              <a:ext cx="446768" cy="446768"/>
            </a:xfrm>
            <a:prstGeom prst="rect">
              <a:avLst/>
            </a:prstGeom>
          </p:spPr>
        </p:pic>
        <p:pic>
          <p:nvPicPr>
            <p:cNvPr id="22" name="Graphic 21" descr="Neighborhood">
              <a:extLst>
                <a:ext uri="{FF2B5EF4-FFF2-40B4-BE49-F238E27FC236}">
                  <a16:creationId xmlns:a16="http://schemas.microsoft.com/office/drawing/2014/main" id="{1E489017-57BA-4B41-ABC5-B07F261FB91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93555" y="2872903"/>
              <a:ext cx="914400" cy="914400"/>
            </a:xfrm>
            <a:prstGeom prst="rect">
              <a:avLst/>
            </a:prstGeom>
          </p:spPr>
        </p:pic>
      </p:grpSp>
      <p:grpSp>
        <p:nvGrpSpPr>
          <p:cNvPr id="23" name="Group 22">
            <a:extLst>
              <a:ext uri="{FF2B5EF4-FFF2-40B4-BE49-F238E27FC236}">
                <a16:creationId xmlns:a16="http://schemas.microsoft.com/office/drawing/2014/main" id="{CB11E45D-84C3-492A-9A35-BFA92F18D123}"/>
              </a:ext>
            </a:extLst>
          </p:cNvPr>
          <p:cNvGrpSpPr/>
          <p:nvPr/>
        </p:nvGrpSpPr>
        <p:grpSpPr>
          <a:xfrm>
            <a:off x="705467" y="5997771"/>
            <a:ext cx="3457332" cy="247650"/>
            <a:chOff x="705467" y="5715567"/>
            <a:chExt cx="3457332" cy="247650"/>
          </a:xfrm>
        </p:grpSpPr>
        <p:sp>
          <p:nvSpPr>
            <p:cNvPr id="24" name="Rectangle 23">
              <a:extLst>
                <a:ext uri="{FF2B5EF4-FFF2-40B4-BE49-F238E27FC236}">
                  <a16:creationId xmlns:a16="http://schemas.microsoft.com/office/drawing/2014/main" id="{6E7A4C92-AD07-468E-B9A7-E6FEBE4CA671}"/>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533A55B3-EF72-4513-8964-76ED68E2CF6F}"/>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EEA598C5-4C3E-48E3-881F-F86BFAA5B1D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7B7432A0-4C23-45DD-B62F-900F6DE1661E}"/>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35494F68-F65F-4F9A-89BA-66B3E13F57A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02979849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4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235775879"/>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1504281"/>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7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757 / 10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822505171"/>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2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5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6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19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0.14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79608"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780C5AF0-7877-4197-A66A-21C9CF260664}"/>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8" name="Title 2">
            <a:extLst>
              <a:ext uri="{FF2B5EF4-FFF2-40B4-BE49-F238E27FC236}">
                <a16:creationId xmlns:a16="http://schemas.microsoft.com/office/drawing/2014/main" id="{3A617079-830E-41E5-9FE6-8C61FB9CFA38}"/>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2/4)</a:t>
            </a:r>
            <a:endParaRPr lang="nl-NL" dirty="0"/>
          </a:p>
        </p:txBody>
      </p:sp>
      <p:grpSp>
        <p:nvGrpSpPr>
          <p:cNvPr id="19" name="Group 18">
            <a:extLst>
              <a:ext uri="{FF2B5EF4-FFF2-40B4-BE49-F238E27FC236}">
                <a16:creationId xmlns:a16="http://schemas.microsoft.com/office/drawing/2014/main" id="{EB239C95-B426-422F-BC5B-AD868D99B1BD}"/>
              </a:ext>
            </a:extLst>
          </p:cNvPr>
          <p:cNvGrpSpPr/>
          <p:nvPr/>
        </p:nvGrpSpPr>
        <p:grpSpPr>
          <a:xfrm>
            <a:off x="706182" y="401324"/>
            <a:ext cx="420422" cy="331917"/>
            <a:chOff x="4649729" y="2872903"/>
            <a:chExt cx="1158226" cy="914400"/>
          </a:xfrm>
          <a:solidFill>
            <a:srgbClr val="22777B"/>
          </a:solidFill>
        </p:grpSpPr>
        <p:pic>
          <p:nvPicPr>
            <p:cNvPr id="20" name="Graphic 19" descr="Excavator">
              <a:extLst>
                <a:ext uri="{FF2B5EF4-FFF2-40B4-BE49-F238E27FC236}">
                  <a16:creationId xmlns:a16="http://schemas.microsoft.com/office/drawing/2014/main" id="{CDC9D503-4DA0-43C9-8906-BEA8B66EEC3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21" name="Graphic 20" descr="Neighborhood">
              <a:extLst>
                <a:ext uri="{FF2B5EF4-FFF2-40B4-BE49-F238E27FC236}">
                  <a16:creationId xmlns:a16="http://schemas.microsoft.com/office/drawing/2014/main" id="{F60C3502-B15F-4AA0-AE9A-21FA528DBAE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186389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2549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1/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29" name="Rectangle 28">
            <a:extLst>
              <a:ext uri="{FF2B5EF4-FFF2-40B4-BE49-F238E27FC236}">
                <a16:creationId xmlns:a16="http://schemas.microsoft.com/office/drawing/2014/main" id="{8155A269-FC06-4CA7-AACB-01097B8EED01}"/>
              </a:ext>
            </a:extLst>
          </p:cNvPr>
          <p:cNvSpPr/>
          <p:nvPr/>
        </p:nvSpPr>
        <p:spPr>
          <a:xfrm>
            <a:off x="918160" y="1712752"/>
            <a:ext cx="2495170" cy="4595973"/>
          </a:xfrm>
          <a:prstGeom prst="rect">
            <a:avLst/>
          </a:prstGeom>
          <a:solidFill>
            <a:srgbClr val="22777B">
              <a:alpha val="20000"/>
            </a:srgb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Werking gemeentefond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0" name="Rectangle: Rounded Corners 29">
            <a:extLst>
              <a:ext uri="{FF2B5EF4-FFF2-40B4-BE49-F238E27FC236}">
                <a16:creationId xmlns:a16="http://schemas.microsoft.com/office/drawing/2014/main" id="{A9F65E04-8095-4E19-B106-C95FF82C5C1B}"/>
              </a:ext>
            </a:extLst>
          </p:cNvPr>
          <p:cNvSpPr/>
          <p:nvPr/>
        </p:nvSpPr>
        <p:spPr>
          <a:xfrm>
            <a:off x="145550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1" name="Rectangle: Rounded Corners 30">
            <a:extLst>
              <a:ext uri="{FF2B5EF4-FFF2-40B4-BE49-F238E27FC236}">
                <a16:creationId xmlns:a16="http://schemas.microsoft.com/office/drawing/2014/main" id="{63912583-D69F-4CF6-A14A-C9202B05DFDC}"/>
              </a:ext>
            </a:extLst>
          </p:cNvPr>
          <p:cNvSpPr/>
          <p:nvPr/>
        </p:nvSpPr>
        <p:spPr>
          <a:xfrm>
            <a:off x="145550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32" name="Plus Sign 31">
            <a:extLst>
              <a:ext uri="{FF2B5EF4-FFF2-40B4-BE49-F238E27FC236}">
                <a16:creationId xmlns:a16="http://schemas.microsoft.com/office/drawing/2014/main" id="{F1C3968E-2D8F-4421-B701-9A5AF930842B}"/>
              </a:ext>
            </a:extLst>
          </p:cNvPr>
          <p:cNvSpPr/>
          <p:nvPr/>
        </p:nvSpPr>
        <p:spPr>
          <a:xfrm>
            <a:off x="204832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3" name="Minus Sign 32">
            <a:extLst>
              <a:ext uri="{FF2B5EF4-FFF2-40B4-BE49-F238E27FC236}">
                <a16:creationId xmlns:a16="http://schemas.microsoft.com/office/drawing/2014/main" id="{D519C1FD-691F-48EF-8C44-4DA27308C8F8}"/>
              </a:ext>
            </a:extLst>
          </p:cNvPr>
          <p:cNvSpPr/>
          <p:nvPr/>
        </p:nvSpPr>
        <p:spPr>
          <a:xfrm>
            <a:off x="2010081"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1455501"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
        <p:nvSpPr>
          <p:cNvPr id="5" name="Equals 4">
            <a:extLst>
              <a:ext uri="{FF2B5EF4-FFF2-40B4-BE49-F238E27FC236}">
                <a16:creationId xmlns:a16="http://schemas.microsoft.com/office/drawing/2014/main" id="{D498DC1B-CA2A-4100-9A61-7E4B1A588335}"/>
              </a:ext>
            </a:extLst>
          </p:cNvPr>
          <p:cNvSpPr/>
          <p:nvPr/>
        </p:nvSpPr>
        <p:spPr>
          <a:xfrm>
            <a:off x="1985948" y="4175494"/>
            <a:ext cx="359592" cy="271661"/>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Rounded Corners 21">
            <a:extLst>
              <a:ext uri="{FF2B5EF4-FFF2-40B4-BE49-F238E27FC236}">
                <a16:creationId xmlns:a16="http://schemas.microsoft.com/office/drawing/2014/main" id="{EABCF657-A78D-42EE-A345-FF1C34DA6C27}"/>
              </a:ext>
            </a:extLst>
          </p:cNvPr>
          <p:cNvSpPr/>
          <p:nvPr/>
        </p:nvSpPr>
        <p:spPr>
          <a:xfrm>
            <a:off x="1455501" y="449761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Totale uitkering gemeentefonds</a:t>
            </a:r>
          </a:p>
        </p:txBody>
      </p:sp>
      <p:sp>
        <p:nvSpPr>
          <p:cNvPr id="34" name="Rectangle 33">
            <a:extLst>
              <a:ext uri="{FF2B5EF4-FFF2-40B4-BE49-F238E27FC236}">
                <a16:creationId xmlns:a16="http://schemas.microsoft.com/office/drawing/2014/main" id="{38FEF1B8-BA20-4920-A0F7-F238577A74AF}"/>
              </a:ext>
            </a:extLst>
          </p:cNvPr>
          <p:cNvSpPr/>
          <p:nvPr/>
        </p:nvSpPr>
        <p:spPr>
          <a:xfrm>
            <a:off x="3551867"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1</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evat de algemene clusteruitkering uit het gemeentefonds obv maatstaven en eenheden. </a:t>
            </a:r>
          </a:p>
        </p:txBody>
      </p:sp>
      <p:sp>
        <p:nvSpPr>
          <p:cNvPr id="42" name="Rectangle 41">
            <a:extLst>
              <a:ext uri="{FF2B5EF4-FFF2-40B4-BE49-F238E27FC236}">
                <a16:creationId xmlns:a16="http://schemas.microsoft.com/office/drawing/2014/main" id="{5A2DE46C-F13A-42BA-8A78-BE6A13B9F12B}"/>
              </a:ext>
            </a:extLst>
          </p:cNvPr>
          <p:cNvSpPr/>
          <p:nvPr/>
        </p:nvSpPr>
        <p:spPr>
          <a:xfrm>
            <a:off x="6185574"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2</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1 + de aanvullende uitkering.</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BB6CE31D-E2E7-4DD9-94DF-AF27058D687C}"/>
              </a:ext>
            </a:extLst>
          </p:cNvPr>
          <p:cNvSpPr/>
          <p:nvPr/>
        </p:nvSpPr>
        <p:spPr>
          <a:xfrm>
            <a:off x="8819281"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3</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2 maar met een correctie voor de nettering eigen middelen. Deze wordt evenredig verdeeld over alle cluster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4DDA5369-B404-4E79-B6FB-64DFCC82B5A8}"/>
              </a:ext>
            </a:extLst>
          </p:cNvPr>
          <p:cNvSpPr/>
          <p:nvPr/>
        </p:nvSpPr>
        <p:spPr>
          <a:xfrm>
            <a:off x="3653785" y="5720080"/>
            <a:ext cx="4884429" cy="548389"/>
          </a:xfrm>
          <a:prstGeom prst="rect">
            <a:avLst/>
          </a:prstGeom>
          <a:solidFill>
            <a:srgbClr val="FFC000"/>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In dit document worden de inzichten gedeeld volgens methodiek 1 en methodiek 2. </a:t>
            </a:r>
          </a:p>
        </p:txBody>
      </p:sp>
      <p:sp>
        <p:nvSpPr>
          <p:cNvPr id="37" name="Rectangle: Rounded Corners 36">
            <a:extLst>
              <a:ext uri="{FF2B5EF4-FFF2-40B4-BE49-F238E27FC236}">
                <a16:creationId xmlns:a16="http://schemas.microsoft.com/office/drawing/2014/main" id="{B57CE4EC-B778-4800-A559-64F9B955BB58}"/>
              </a:ext>
            </a:extLst>
          </p:cNvPr>
          <p:cNvSpPr/>
          <p:nvPr/>
        </p:nvSpPr>
        <p:spPr>
          <a:xfrm>
            <a:off x="4080714"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Rectangle: Rounded Corners 45">
            <a:extLst>
              <a:ext uri="{FF2B5EF4-FFF2-40B4-BE49-F238E27FC236}">
                <a16:creationId xmlns:a16="http://schemas.microsoft.com/office/drawing/2014/main" id="{40E6C330-1D22-4D19-9F87-7FCEFBA86976}"/>
              </a:ext>
            </a:extLst>
          </p:cNvPr>
          <p:cNvSpPr/>
          <p:nvPr/>
        </p:nvSpPr>
        <p:spPr>
          <a:xfrm>
            <a:off x="676492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7" name="Rectangle: Rounded Corners 46">
            <a:extLst>
              <a:ext uri="{FF2B5EF4-FFF2-40B4-BE49-F238E27FC236}">
                <a16:creationId xmlns:a16="http://schemas.microsoft.com/office/drawing/2014/main" id="{E81150AE-60DE-45C0-9D90-14A469E3AE61}"/>
              </a:ext>
            </a:extLst>
          </p:cNvPr>
          <p:cNvSpPr/>
          <p:nvPr/>
        </p:nvSpPr>
        <p:spPr>
          <a:xfrm>
            <a:off x="676492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48" name="Plus Sign 47">
            <a:extLst>
              <a:ext uri="{FF2B5EF4-FFF2-40B4-BE49-F238E27FC236}">
                <a16:creationId xmlns:a16="http://schemas.microsoft.com/office/drawing/2014/main" id="{E68F6D74-48B6-46BB-838E-8B1609C9E159}"/>
              </a:ext>
            </a:extLst>
          </p:cNvPr>
          <p:cNvSpPr/>
          <p:nvPr/>
        </p:nvSpPr>
        <p:spPr>
          <a:xfrm>
            <a:off x="735774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57" name="Rectangle: Rounded Corners 56">
            <a:extLst>
              <a:ext uri="{FF2B5EF4-FFF2-40B4-BE49-F238E27FC236}">
                <a16:creationId xmlns:a16="http://schemas.microsoft.com/office/drawing/2014/main" id="{DCFF6D9E-BEC8-42FA-8957-FE942DF7EF94}"/>
              </a:ext>
            </a:extLst>
          </p:cNvPr>
          <p:cNvSpPr/>
          <p:nvPr/>
        </p:nvSpPr>
        <p:spPr>
          <a:xfrm>
            <a:off x="9423388"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58" name="Rectangle: Rounded Corners 57">
            <a:extLst>
              <a:ext uri="{FF2B5EF4-FFF2-40B4-BE49-F238E27FC236}">
                <a16:creationId xmlns:a16="http://schemas.microsoft.com/office/drawing/2014/main" id="{28069292-3CF7-4746-93EF-F413F88EE232}"/>
              </a:ext>
            </a:extLst>
          </p:cNvPr>
          <p:cNvSpPr/>
          <p:nvPr/>
        </p:nvSpPr>
        <p:spPr>
          <a:xfrm>
            <a:off x="9423388"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59" name="Plus Sign 58">
            <a:extLst>
              <a:ext uri="{FF2B5EF4-FFF2-40B4-BE49-F238E27FC236}">
                <a16:creationId xmlns:a16="http://schemas.microsoft.com/office/drawing/2014/main" id="{844EF2D4-05EC-4BE5-860A-18CEB798E27C}"/>
              </a:ext>
            </a:extLst>
          </p:cNvPr>
          <p:cNvSpPr/>
          <p:nvPr/>
        </p:nvSpPr>
        <p:spPr>
          <a:xfrm>
            <a:off x="10016213"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61" name="Minus Sign 60">
            <a:extLst>
              <a:ext uri="{FF2B5EF4-FFF2-40B4-BE49-F238E27FC236}">
                <a16:creationId xmlns:a16="http://schemas.microsoft.com/office/drawing/2014/main" id="{DD456EFE-A114-453B-95C9-87A417590544}"/>
              </a:ext>
            </a:extLst>
          </p:cNvPr>
          <p:cNvSpPr/>
          <p:nvPr/>
        </p:nvSpPr>
        <p:spPr>
          <a:xfrm>
            <a:off x="9977968"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62" name="Rectangle: Rounded Corners 61">
            <a:extLst>
              <a:ext uri="{FF2B5EF4-FFF2-40B4-BE49-F238E27FC236}">
                <a16:creationId xmlns:a16="http://schemas.microsoft.com/office/drawing/2014/main" id="{EE072730-54F3-494B-8274-8523F25DD7D1}"/>
              </a:ext>
            </a:extLst>
          </p:cNvPr>
          <p:cNvSpPr/>
          <p:nvPr/>
        </p:nvSpPr>
        <p:spPr>
          <a:xfrm>
            <a:off x="9423388"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Tree>
    <p:extLst>
      <p:ext uri="{BB962C8B-B14F-4D97-AF65-F5344CB8AC3E}">
        <p14:creationId xmlns:p14="http://schemas.microsoft.com/office/powerpoint/2010/main" val="60313179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5030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frastructuur en gebiedsontwikkel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690823343"/>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4FA96C2A-FD88-4F11-BAE2-9806AB37E353}"/>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31" name="Title 2">
            <a:extLst>
              <a:ext uri="{FF2B5EF4-FFF2-40B4-BE49-F238E27FC236}">
                <a16:creationId xmlns:a16="http://schemas.microsoft.com/office/drawing/2014/main" id="{E22763A0-D794-4E3B-950D-7413EBAD0667}"/>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3/4)</a:t>
            </a:r>
            <a:endParaRPr lang="nl-NL" dirty="0"/>
          </a:p>
        </p:txBody>
      </p:sp>
      <p:grpSp>
        <p:nvGrpSpPr>
          <p:cNvPr id="37" name="Group 36">
            <a:extLst>
              <a:ext uri="{FF2B5EF4-FFF2-40B4-BE49-F238E27FC236}">
                <a16:creationId xmlns:a16="http://schemas.microsoft.com/office/drawing/2014/main" id="{306B5ED7-814E-4495-A90D-8E6284FEBE31}"/>
              </a:ext>
            </a:extLst>
          </p:cNvPr>
          <p:cNvGrpSpPr/>
          <p:nvPr/>
        </p:nvGrpSpPr>
        <p:grpSpPr>
          <a:xfrm>
            <a:off x="706182" y="401324"/>
            <a:ext cx="420422" cy="331917"/>
            <a:chOff x="4649729" y="2872903"/>
            <a:chExt cx="1158226" cy="914400"/>
          </a:xfrm>
          <a:solidFill>
            <a:srgbClr val="22777B"/>
          </a:solidFill>
        </p:grpSpPr>
        <p:pic>
          <p:nvPicPr>
            <p:cNvPr id="38" name="Graphic 37" descr="Excavator">
              <a:extLst>
                <a:ext uri="{FF2B5EF4-FFF2-40B4-BE49-F238E27FC236}">
                  <a16:creationId xmlns:a16="http://schemas.microsoft.com/office/drawing/2014/main" id="{A2B1D4F3-BA6C-4DE3-8CBA-3B23735CBE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41" name="Graphic 40" descr="Neighborhood">
              <a:extLst>
                <a:ext uri="{FF2B5EF4-FFF2-40B4-BE49-F238E27FC236}">
                  <a16:creationId xmlns:a16="http://schemas.microsoft.com/office/drawing/2014/main" id="{FBE04055-1B5B-4036-9187-2EAA06FFB8B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323785098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87852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641412533"/>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kern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ervlak bebouwing woon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dichtheid *bodemf. Ge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6,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547738715"/>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353338289"/>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TH provinciale tak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Deltaprogr ruimtelijke adaptati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074164008"/>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54F79F48-0235-4B6E-A122-9000F4E5557B}"/>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22" name="Title 2">
            <a:extLst>
              <a:ext uri="{FF2B5EF4-FFF2-40B4-BE49-F238E27FC236}">
                <a16:creationId xmlns:a16="http://schemas.microsoft.com/office/drawing/2014/main" id="{E044EC53-CD2D-4AA7-A4F4-A09D6E2D042E}"/>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4/4)</a:t>
            </a:r>
            <a:endParaRPr lang="nl-NL" dirty="0"/>
          </a:p>
        </p:txBody>
      </p:sp>
      <p:grpSp>
        <p:nvGrpSpPr>
          <p:cNvPr id="24" name="Group 23">
            <a:extLst>
              <a:ext uri="{FF2B5EF4-FFF2-40B4-BE49-F238E27FC236}">
                <a16:creationId xmlns:a16="http://schemas.microsoft.com/office/drawing/2014/main" id="{5CDBAD6F-0FB4-47E8-B954-B1A3A7EE2ACA}"/>
              </a:ext>
            </a:extLst>
          </p:cNvPr>
          <p:cNvGrpSpPr/>
          <p:nvPr/>
        </p:nvGrpSpPr>
        <p:grpSpPr>
          <a:xfrm>
            <a:off x="706182" y="401324"/>
            <a:ext cx="420422" cy="331917"/>
            <a:chOff x="4649729" y="2872903"/>
            <a:chExt cx="1158226" cy="914400"/>
          </a:xfrm>
          <a:solidFill>
            <a:srgbClr val="22777B"/>
          </a:solidFill>
        </p:grpSpPr>
        <p:pic>
          <p:nvPicPr>
            <p:cNvPr id="25" name="Graphic 24" descr="Excavator">
              <a:extLst>
                <a:ext uri="{FF2B5EF4-FFF2-40B4-BE49-F238E27FC236}">
                  <a16:creationId xmlns:a16="http://schemas.microsoft.com/office/drawing/2014/main" id="{3BD3FC88-CF21-4EBB-9E32-AE875543D7B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49729" y="3290873"/>
              <a:ext cx="446768" cy="446768"/>
            </a:xfrm>
            <a:prstGeom prst="rect">
              <a:avLst/>
            </a:prstGeom>
          </p:spPr>
        </p:pic>
        <p:pic>
          <p:nvPicPr>
            <p:cNvPr id="26" name="Graphic 25" descr="Neighborhood">
              <a:extLst>
                <a:ext uri="{FF2B5EF4-FFF2-40B4-BE49-F238E27FC236}">
                  <a16:creationId xmlns:a16="http://schemas.microsoft.com/office/drawing/2014/main" id="{BF0A2B8A-5439-4675-9BC1-6B695F1BE52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21772483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042D0E7-2EA4-41FE-89DB-5C9933FB32B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8F32769-3B60-42D7-9B46-24D02CA75B2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1B8772C1-AAB9-44CD-BED0-B2D27DEA46E2}"/>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939A5F79-A4CA-46AB-B1B3-984DF145BF0D}"/>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EB65502-4C68-4719-AAC5-B32661DE50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C61E9EC7-0FFB-4178-B8A8-8F1C295977D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9CD4058-EB5A-458D-8141-1227D390F50F}"/>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76F259F-D743-4460-A43E-69A0953CA22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3754E275-55FA-4CDE-9754-B07B584D2673}"/>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009E0B8-561E-4744-84DA-58DC9F46F516}"/>
              </a:ext>
            </a:extLst>
          </p:cNvPr>
          <p:cNvSpPr txBox="1">
            <a:spLocks/>
          </p:cNvSpPr>
          <p:nvPr/>
        </p:nvSpPr>
        <p:spPr>
          <a:xfrm>
            <a:off x="622228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Riolering en reiniging</a:t>
            </a:r>
          </a:p>
        </p:txBody>
      </p:sp>
      <p:sp>
        <p:nvSpPr>
          <p:cNvPr id="116" name="Text Placeholder 5">
            <a:hlinkClick r:id="rId21" action="ppaction://hlinksldjump"/>
            <a:extLst>
              <a:ext uri="{FF2B5EF4-FFF2-40B4-BE49-F238E27FC236}">
                <a16:creationId xmlns:a16="http://schemas.microsoft.com/office/drawing/2014/main" id="{1EACA750-42B7-4638-80A8-AB8F2C105AA0}"/>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68B5199-F237-49B0-A758-0FF47B5DBCA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6F87DF08-7947-42FA-B820-275BDC01F3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0379082A-26B5-4C6A-81B9-7461AB4BBECA}"/>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FB8E1204-0133-4B95-9217-C03F5A132F0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ECA0CB0F-3B2E-4D3E-9DB4-725CE8FCD323}"/>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76F4CA94-B9EC-4D9F-8D4E-FD99CCE27AD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20B692A-84B5-4678-BC46-D00B93E7B35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55426256-F679-41DA-8E4A-986B2647895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16A0E455-529D-4132-9298-2DB875665440}"/>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E53BE9CD-58C4-49FE-B149-6450DA9A59C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1381905F-A666-40D0-8449-B75BB2FE5B30}"/>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3E105E15-2012-4108-A047-669AFE9A8E9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A49A0EE3-FA11-4BB6-9CCD-1BD6D71B8F00}"/>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599F050-FB91-4DBE-AB5E-01151AD167C2}"/>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F99B4D5-F07C-437B-9091-64A8CA0F63F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ABE35AFA-5AE5-4B26-BC99-F321E43BC2F9}"/>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B9EE2B7-19D6-49AC-84BE-609CF8AAA6BD}"/>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2044908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81728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riolering en reinig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376616335"/>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020</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2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2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003C92FB-FA02-4DB7-81E2-D580C93D114A}"/>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7" name="Title 2">
            <a:extLst>
              <a:ext uri="{FF2B5EF4-FFF2-40B4-BE49-F238E27FC236}">
                <a16:creationId xmlns:a16="http://schemas.microsoft.com/office/drawing/2014/main" id="{3DCE0E29-15C4-44E1-BD41-898F4F1C5E6A}"/>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1/4)</a:t>
            </a:r>
            <a:endParaRPr lang="nl-NL" dirty="0"/>
          </a:p>
        </p:txBody>
      </p:sp>
      <p:pic>
        <p:nvPicPr>
          <p:cNvPr id="22" name="Graphic 21" descr="Mop and bucket">
            <a:extLst>
              <a:ext uri="{FF2B5EF4-FFF2-40B4-BE49-F238E27FC236}">
                <a16:creationId xmlns:a16="http://schemas.microsoft.com/office/drawing/2014/main" id="{6A3A0FF9-411C-4214-A8D2-BD116CFDD0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1926" y="310130"/>
            <a:ext cx="404678" cy="404678"/>
          </a:xfrm>
          <a:prstGeom prst="rect">
            <a:avLst/>
          </a:prstGeom>
        </p:spPr>
      </p:pic>
      <p:grpSp>
        <p:nvGrpSpPr>
          <p:cNvPr id="23" name="Group 22">
            <a:extLst>
              <a:ext uri="{FF2B5EF4-FFF2-40B4-BE49-F238E27FC236}">
                <a16:creationId xmlns:a16="http://schemas.microsoft.com/office/drawing/2014/main" id="{275CD2C0-B8DB-4419-A517-31A6B2ED6227}"/>
              </a:ext>
            </a:extLst>
          </p:cNvPr>
          <p:cNvGrpSpPr/>
          <p:nvPr/>
        </p:nvGrpSpPr>
        <p:grpSpPr>
          <a:xfrm>
            <a:off x="705467" y="5997771"/>
            <a:ext cx="2406093" cy="247650"/>
            <a:chOff x="705467" y="5715567"/>
            <a:chExt cx="2406093" cy="247650"/>
          </a:xfrm>
        </p:grpSpPr>
        <p:sp>
          <p:nvSpPr>
            <p:cNvPr id="24" name="Rectangle 23">
              <a:extLst>
                <a:ext uri="{FF2B5EF4-FFF2-40B4-BE49-F238E27FC236}">
                  <a16:creationId xmlns:a16="http://schemas.microsoft.com/office/drawing/2014/main" id="{6561415C-9425-4CCA-BAEA-36C7FA94EBD0}"/>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1E526890-9441-4A13-829F-635B719A365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F8BD4671-4CCA-4956-85AB-065B4514187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aphicFrame>
        <p:nvGraphicFramePr>
          <p:cNvPr id="29" name="Google Shape;1850;p19">
            <a:extLst>
              <a:ext uri="{FF2B5EF4-FFF2-40B4-BE49-F238E27FC236}">
                <a16:creationId xmlns:a16="http://schemas.microsoft.com/office/drawing/2014/main" id="{D41085C8-AC0C-4CC8-9465-CED750F94B14}"/>
              </a:ext>
            </a:extLst>
          </p:cNvPr>
          <p:cNvGraphicFramePr/>
          <p:nvPr>
            <p:extLst>
              <p:ext uri="{D42A27DB-BD31-4B8C-83A1-F6EECF244321}">
                <p14:modId xmlns:p14="http://schemas.microsoft.com/office/powerpoint/2010/main" val="598283983"/>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0" name="Google Shape;1850;p19">
            <a:extLst>
              <a:ext uri="{FF2B5EF4-FFF2-40B4-BE49-F238E27FC236}">
                <a16:creationId xmlns:a16="http://schemas.microsoft.com/office/drawing/2014/main" id="{E3C22891-9D78-4BEF-A499-C6A251364F45}"/>
              </a:ext>
            </a:extLst>
          </p:cNvPr>
          <p:cNvGraphicFramePr/>
          <p:nvPr>
            <p:extLst>
              <p:ext uri="{D42A27DB-BD31-4B8C-83A1-F6EECF244321}">
                <p14:modId xmlns:p14="http://schemas.microsoft.com/office/powerpoint/2010/main" val="3805681390"/>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9732738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5 minder nettering dan de 4 vergelijkingsgemeenten</a:t>
            </a:r>
            <a:endParaRPr lang="nl-NL" dirty="0"/>
          </a:p>
        </p:txBody>
      </p:sp>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91291459"/>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786483049"/>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2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5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6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19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0.14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Title 2">
            <a:extLst>
              <a:ext uri="{FF2B5EF4-FFF2-40B4-BE49-F238E27FC236}">
                <a16:creationId xmlns:a16="http://schemas.microsoft.com/office/drawing/2014/main" id="{9CC8F5C5-849C-4F6B-995C-94CF06621322}"/>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8" name="Title 2">
            <a:extLst>
              <a:ext uri="{FF2B5EF4-FFF2-40B4-BE49-F238E27FC236}">
                <a16:creationId xmlns:a16="http://schemas.microsoft.com/office/drawing/2014/main" id="{313EDDF4-8D8A-49F4-ACF8-1E2607529C46}"/>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2/4)</a:t>
            </a:r>
            <a:endParaRPr lang="nl-NL" dirty="0"/>
          </a:p>
        </p:txBody>
      </p:sp>
      <p:pic>
        <p:nvPicPr>
          <p:cNvPr id="19" name="Graphic 18" descr="Mop and bucket">
            <a:extLst>
              <a:ext uri="{FF2B5EF4-FFF2-40B4-BE49-F238E27FC236}">
                <a16:creationId xmlns:a16="http://schemas.microsoft.com/office/drawing/2014/main" id="{2621A939-25FC-4630-A16B-CF573AF6A7B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1926" y="310130"/>
            <a:ext cx="404678" cy="404678"/>
          </a:xfrm>
          <a:prstGeom prst="rect">
            <a:avLst/>
          </a:prstGeom>
        </p:spPr>
      </p:pic>
      <p:graphicFrame>
        <p:nvGraphicFramePr>
          <p:cNvPr id="20" name="Google Shape;1850;p19">
            <a:extLst>
              <a:ext uri="{FF2B5EF4-FFF2-40B4-BE49-F238E27FC236}">
                <a16:creationId xmlns:a16="http://schemas.microsoft.com/office/drawing/2014/main" id="{54C112D0-ABCD-4DD5-9456-A830FEF78A3B}"/>
              </a:ext>
            </a:extLst>
          </p:cNvPr>
          <p:cNvGraphicFramePr/>
          <p:nvPr>
            <p:extLst>
              <p:ext uri="{D42A27DB-BD31-4B8C-83A1-F6EECF244321}">
                <p14:modId xmlns:p14="http://schemas.microsoft.com/office/powerpoint/2010/main" val="32651575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8"/>
          </a:graphicData>
        </a:graphic>
      </p:graphicFrame>
      <p:sp>
        <p:nvSpPr>
          <p:cNvPr id="21" name="TextBox 20">
            <a:extLst>
              <a:ext uri="{FF2B5EF4-FFF2-40B4-BE49-F238E27FC236}">
                <a16:creationId xmlns:a16="http://schemas.microsoft.com/office/drawing/2014/main" id="{6EB927D5-294E-4374-90EE-C308035285CD}"/>
              </a:ext>
            </a:extLst>
          </p:cNvPr>
          <p:cNvSpPr txBox="1"/>
          <p:nvPr/>
        </p:nvSpPr>
        <p:spPr>
          <a:xfrm>
            <a:off x="1813919"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Tree>
    <p:extLst>
      <p:ext uri="{BB962C8B-B14F-4D97-AF65-F5344CB8AC3E}">
        <p14:creationId xmlns:p14="http://schemas.microsoft.com/office/powerpoint/2010/main" val="421749173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530023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Riolering en reinig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daal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838903679"/>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4BAAB91-88A5-4B63-BB57-A69347726A6F}"/>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31" name="Title 2">
            <a:extLst>
              <a:ext uri="{FF2B5EF4-FFF2-40B4-BE49-F238E27FC236}">
                <a16:creationId xmlns:a16="http://schemas.microsoft.com/office/drawing/2014/main" id="{FE2B8277-9BC5-4072-AC34-03D77D264551}"/>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3/4)</a:t>
            </a:r>
            <a:endParaRPr lang="nl-NL" dirty="0"/>
          </a:p>
        </p:txBody>
      </p:sp>
      <p:pic>
        <p:nvPicPr>
          <p:cNvPr id="37" name="Graphic 36" descr="Mop and bucket">
            <a:extLst>
              <a:ext uri="{FF2B5EF4-FFF2-40B4-BE49-F238E27FC236}">
                <a16:creationId xmlns:a16="http://schemas.microsoft.com/office/drawing/2014/main" id="{11600D03-BBDD-4BDC-938F-022D680043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327200746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59959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4253487224"/>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dichtheid *bodemf. ge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6</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603360469"/>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sp>
        <p:nvSpPr>
          <p:cNvPr id="21" name="Title 2">
            <a:extLst>
              <a:ext uri="{FF2B5EF4-FFF2-40B4-BE49-F238E27FC236}">
                <a16:creationId xmlns:a16="http://schemas.microsoft.com/office/drawing/2014/main" id="{82FCA38C-91AB-44BF-9A13-A7254764BF6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22" name="Title 2">
            <a:extLst>
              <a:ext uri="{FF2B5EF4-FFF2-40B4-BE49-F238E27FC236}">
                <a16:creationId xmlns:a16="http://schemas.microsoft.com/office/drawing/2014/main" id="{C5A05968-BAA3-463E-AFC4-8BF724FBF7CF}"/>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4/4)</a:t>
            </a:r>
            <a:endParaRPr lang="nl-NL" dirty="0"/>
          </a:p>
        </p:txBody>
      </p:sp>
      <p:pic>
        <p:nvPicPr>
          <p:cNvPr id="24" name="Graphic 23" descr="Mop and bucket">
            <a:extLst>
              <a:ext uri="{FF2B5EF4-FFF2-40B4-BE49-F238E27FC236}">
                <a16:creationId xmlns:a16="http://schemas.microsoft.com/office/drawing/2014/main" id="{C7F76A06-C2F7-4BA3-96C6-67442C0DDEE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73443004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B66BA0E-9ADF-4D78-B06E-D2B5629039DB}"/>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2404F4DD-DBDA-453C-8BD7-27F545A93300}"/>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DB74F33B-D66F-4A5C-9651-36B14255C92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517460A4-F88F-4FDA-A234-4F29A9BD844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20F4C81-4311-4556-B00B-5972241872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06416AA6-7FE6-42AB-804A-D49DF318918A}"/>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6BC078D-8E6F-4864-9B00-F61038C5D87C}"/>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C8BCF2A4-7614-4A89-A409-84205833D66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F7A6475-7996-4C71-BB54-2F76311022E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1262F93F-1493-447C-AC99-518C5C46536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FF4F95B2-BE65-41AE-97F4-4CBE28BB8184}"/>
              </a:ext>
            </a:extLst>
          </p:cNvPr>
          <p:cNvSpPr txBox="1">
            <a:spLocks/>
          </p:cNvSpPr>
          <p:nvPr/>
        </p:nvSpPr>
        <p:spPr>
          <a:xfrm>
            <a:off x="622228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Openbare orde en veiligheid</a:t>
            </a:r>
          </a:p>
        </p:txBody>
      </p:sp>
      <p:sp>
        <p:nvSpPr>
          <p:cNvPr id="117" name="Text Placeholder 5">
            <a:hlinkClick r:id="rId22" action="ppaction://hlinksldjump"/>
            <a:extLst>
              <a:ext uri="{FF2B5EF4-FFF2-40B4-BE49-F238E27FC236}">
                <a16:creationId xmlns:a16="http://schemas.microsoft.com/office/drawing/2014/main" id="{308BD8D8-E79D-4047-8D08-9C1BE2A99BF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BB5CCA7B-45DA-4EBF-B7BE-EF4F6479911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1511F8B3-01A6-47E4-909A-7E7D4D101314}"/>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EBB8081-FB8D-41FA-85FD-0E0AD2A3C01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478FA86-AF45-4CF6-B7FB-26AEBE6C9B8D}"/>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D4D77C-BDDF-4CA7-959A-49C0316EC33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CF8E0FD-6181-4B76-8A5D-93F9FD17EC4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40731537-1DE0-409A-862A-2E0951EF8AF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3471F7D-FDF0-4738-9E49-8881CC5354A6}"/>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353D8B-76AB-4576-AF27-2CB30D3BC800}"/>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A170B5B-1D92-42EC-A291-A6B273976099}"/>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7BCFAED8-FB8B-4797-B275-5109AF3AFF40}"/>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D0BC9B9A-275C-4BF5-8CB6-CF7D451715D3}"/>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94C25FDC-4BE0-4CCF-8E15-D8533282A0A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5CB380DA-D23B-469A-8918-4C0D6D56651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6BD0A3-C203-4CE1-AC40-15D26CF6220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2E806B8-45E2-43B5-AE96-8C1BC50F382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29907025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264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openbare orde en veiligheid,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972469260"/>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364761112"/>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943164669"/>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020</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2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2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2F627DA8-825E-4C09-85BF-F2402D6A55AC}"/>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7" name="Title 2">
            <a:extLst>
              <a:ext uri="{FF2B5EF4-FFF2-40B4-BE49-F238E27FC236}">
                <a16:creationId xmlns:a16="http://schemas.microsoft.com/office/drawing/2014/main" id="{9242C870-AC6D-4391-AA5A-C95D12FD5CCF}"/>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1/4)</a:t>
            </a:r>
            <a:endParaRPr lang="nl-NL" dirty="0"/>
          </a:p>
        </p:txBody>
      </p:sp>
      <p:pic>
        <p:nvPicPr>
          <p:cNvPr id="20" name="Graphic 19" descr="Shield Tick">
            <a:extLst>
              <a:ext uri="{FF2B5EF4-FFF2-40B4-BE49-F238E27FC236}">
                <a16:creationId xmlns:a16="http://schemas.microsoft.com/office/drawing/2014/main" id="{7C7EB4E0-08DC-463A-9FE3-D348A611AFC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1632" y="355815"/>
            <a:ext cx="424972" cy="424972"/>
          </a:xfrm>
          <a:prstGeom prst="rect">
            <a:avLst/>
          </a:prstGeom>
        </p:spPr>
      </p:pic>
      <p:grpSp>
        <p:nvGrpSpPr>
          <p:cNvPr id="21" name="Group 20">
            <a:extLst>
              <a:ext uri="{FF2B5EF4-FFF2-40B4-BE49-F238E27FC236}">
                <a16:creationId xmlns:a16="http://schemas.microsoft.com/office/drawing/2014/main" id="{D4425C52-EEA1-4ACB-B2B6-9AC3BA0CF7BC}"/>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37424B6B-4091-4C7D-B2C8-1A34FF2A69F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E151A63-C3D5-42D8-A197-831DFB8A7A54}"/>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7167F05C-AD4F-451D-818B-365A6C347FC3}"/>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8A83EF63-09D4-4753-AA04-F1646566F6DD}"/>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C0C189B7-5ECF-47C1-94D8-8C69EE99079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9479977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4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100095942"/>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680660368"/>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58 / 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912303899"/>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2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5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6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19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0.14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19319"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4F1205E6-78D3-4BF6-8541-C4471789FCFA}"/>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8" name="Title 2">
            <a:extLst>
              <a:ext uri="{FF2B5EF4-FFF2-40B4-BE49-F238E27FC236}">
                <a16:creationId xmlns:a16="http://schemas.microsoft.com/office/drawing/2014/main" id="{177D57F0-6270-4FA5-851F-899A2433F01C}"/>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2/4)</a:t>
            </a:r>
            <a:endParaRPr lang="nl-NL" dirty="0"/>
          </a:p>
        </p:txBody>
      </p:sp>
      <p:pic>
        <p:nvPicPr>
          <p:cNvPr id="19" name="Graphic 18" descr="Shield Tick">
            <a:extLst>
              <a:ext uri="{FF2B5EF4-FFF2-40B4-BE49-F238E27FC236}">
                <a16:creationId xmlns:a16="http://schemas.microsoft.com/office/drawing/2014/main" id="{3AB8D980-04B2-4E3D-AEDC-17E1B3A5C8D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3441685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09190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2/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dirty="0"/>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a:t>Uitkeringen per cluster voor gemeente Sliedrecht, 2020, eur miljoen</a:t>
            </a:r>
            <a:endParaRPr lang="nl-NL" b="0" dirty="0"/>
          </a:p>
        </p:txBody>
      </p:sp>
      <p:graphicFrame>
        <p:nvGraphicFramePr>
          <p:cNvPr id="9" name="Table 24">
            <a:extLst>
              <a:ext uri="{FF2B5EF4-FFF2-40B4-BE49-F238E27FC236}">
                <a16:creationId xmlns:a16="http://schemas.microsoft.com/office/drawing/2014/main" id="{AF8B6C79-FDD8-4F61-95E9-CC46D47E3226}"/>
              </a:ext>
            </a:extLst>
          </p:cNvPr>
          <p:cNvGraphicFramePr>
            <a:graphicFrameLocks noGrp="1"/>
          </p:cNvGraphicFramePr>
          <p:nvPr>
            <p:extLst>
              <p:ext uri="{D42A27DB-BD31-4B8C-83A1-F6EECF244321}">
                <p14:modId xmlns:p14="http://schemas.microsoft.com/office/powerpoint/2010/main" val="3251017692"/>
              </p:ext>
            </p:extLst>
          </p:nvPr>
        </p:nvGraphicFramePr>
        <p:xfrm>
          <a:off x="705466" y="1592263"/>
          <a:ext cx="10827719" cy="4716465"/>
        </p:xfrm>
        <a:graphic>
          <a:graphicData uri="http://schemas.openxmlformats.org/drawingml/2006/table">
            <a:tbl>
              <a:tblPr firstRow="1" bandRow="1">
                <a:tableStyleId>{5C22544A-7EE6-4342-B048-85BDC9FD1C3A}</a:tableStyleId>
              </a:tblPr>
              <a:tblGrid>
                <a:gridCol w="3945119">
                  <a:extLst>
                    <a:ext uri="{9D8B030D-6E8A-4147-A177-3AD203B41FA5}">
                      <a16:colId xmlns:a16="http://schemas.microsoft.com/office/drawing/2014/main" val="71743482"/>
                    </a:ext>
                  </a:extLst>
                </a:gridCol>
                <a:gridCol w="241760">
                  <a:extLst>
                    <a:ext uri="{9D8B030D-6E8A-4147-A177-3AD203B41FA5}">
                      <a16:colId xmlns:a16="http://schemas.microsoft.com/office/drawing/2014/main" val="937139751"/>
                    </a:ext>
                  </a:extLst>
                </a:gridCol>
                <a:gridCol w="1024608">
                  <a:extLst>
                    <a:ext uri="{9D8B030D-6E8A-4147-A177-3AD203B41FA5}">
                      <a16:colId xmlns:a16="http://schemas.microsoft.com/office/drawing/2014/main" val="3833710482"/>
                    </a:ext>
                  </a:extLst>
                </a:gridCol>
                <a:gridCol w="547664">
                  <a:extLst>
                    <a:ext uri="{9D8B030D-6E8A-4147-A177-3AD203B41FA5}">
                      <a16:colId xmlns:a16="http://schemas.microsoft.com/office/drawing/2014/main" val="509538733"/>
                    </a:ext>
                  </a:extLst>
                </a:gridCol>
                <a:gridCol w="1024608">
                  <a:extLst>
                    <a:ext uri="{9D8B030D-6E8A-4147-A177-3AD203B41FA5}">
                      <a16:colId xmlns:a16="http://schemas.microsoft.com/office/drawing/2014/main" val="276612980"/>
                    </a:ext>
                  </a:extLst>
                </a:gridCol>
                <a:gridCol w="211236">
                  <a:extLst>
                    <a:ext uri="{9D8B030D-6E8A-4147-A177-3AD203B41FA5}">
                      <a16:colId xmlns:a16="http://schemas.microsoft.com/office/drawing/2014/main" val="2368101116"/>
                    </a:ext>
                  </a:extLst>
                </a:gridCol>
                <a:gridCol w="1024608">
                  <a:extLst>
                    <a:ext uri="{9D8B030D-6E8A-4147-A177-3AD203B41FA5}">
                      <a16:colId xmlns:a16="http://schemas.microsoft.com/office/drawing/2014/main" val="2040484953"/>
                    </a:ext>
                  </a:extLst>
                </a:gridCol>
                <a:gridCol w="547664">
                  <a:extLst>
                    <a:ext uri="{9D8B030D-6E8A-4147-A177-3AD203B41FA5}">
                      <a16:colId xmlns:a16="http://schemas.microsoft.com/office/drawing/2014/main" val="780761436"/>
                    </a:ext>
                  </a:extLst>
                </a:gridCol>
                <a:gridCol w="1024608">
                  <a:extLst>
                    <a:ext uri="{9D8B030D-6E8A-4147-A177-3AD203B41FA5}">
                      <a16:colId xmlns:a16="http://schemas.microsoft.com/office/drawing/2014/main" val="231092563"/>
                    </a:ext>
                  </a:extLst>
                </a:gridCol>
                <a:gridCol w="211236">
                  <a:extLst>
                    <a:ext uri="{9D8B030D-6E8A-4147-A177-3AD203B41FA5}">
                      <a16:colId xmlns:a16="http://schemas.microsoft.com/office/drawing/2014/main" val="972537971"/>
                    </a:ext>
                  </a:extLst>
                </a:gridCol>
                <a:gridCol w="1024608">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Methodiek 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Allocatie aanvullend</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Nettering eigen middel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8,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41,7</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1,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1,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10" name="Text Placeholder 8">
            <a:extLst>
              <a:ext uri="{FF2B5EF4-FFF2-40B4-BE49-F238E27FC236}">
                <a16:creationId xmlns:a16="http://schemas.microsoft.com/office/drawing/2014/main" id="{59308258-D350-4AED-8E9E-AD45036B31B8}"/>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1" name="Freeform: Shape 10">
            <a:extLst>
              <a:ext uri="{FF2B5EF4-FFF2-40B4-BE49-F238E27FC236}">
                <a16:creationId xmlns:a16="http://schemas.microsoft.com/office/drawing/2014/main" id="{CB3B8E79-DD92-4B44-AD9E-A0D4FBD369DB}"/>
              </a:ext>
            </a:extLst>
          </p:cNvPr>
          <p:cNvSpPr/>
          <p:nvPr/>
        </p:nvSpPr>
        <p:spPr>
          <a:xfrm>
            <a:off x="5831840" y="4297679"/>
            <a:ext cx="548640"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
        <p:nvSpPr>
          <p:cNvPr id="12" name="Freeform: Shape 11">
            <a:extLst>
              <a:ext uri="{FF2B5EF4-FFF2-40B4-BE49-F238E27FC236}">
                <a16:creationId xmlns:a16="http://schemas.microsoft.com/office/drawing/2014/main" id="{FC732317-6AA3-4623-84BF-E3F17B8CCDD6}"/>
              </a:ext>
            </a:extLst>
          </p:cNvPr>
          <p:cNvSpPr/>
          <p:nvPr/>
        </p:nvSpPr>
        <p:spPr>
          <a:xfrm>
            <a:off x="8702832" y="4562605"/>
            <a:ext cx="441168"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Tree>
    <p:extLst>
      <p:ext uri="{BB962C8B-B14F-4D97-AF65-F5344CB8AC3E}">
        <p14:creationId xmlns:p14="http://schemas.microsoft.com/office/powerpoint/2010/main" val="135442789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927283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Openbare orde en veilighei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377658180"/>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64ACF33-D9E0-4CF5-8615-82EFBFDC8A7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31" name="Title 2">
            <a:extLst>
              <a:ext uri="{FF2B5EF4-FFF2-40B4-BE49-F238E27FC236}">
                <a16:creationId xmlns:a16="http://schemas.microsoft.com/office/drawing/2014/main" id="{6F5BB0C5-291B-4FAD-9E47-59615CB5BCA6}"/>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3/4)</a:t>
            </a:r>
            <a:endParaRPr lang="nl-NL" dirty="0"/>
          </a:p>
        </p:txBody>
      </p:sp>
      <p:pic>
        <p:nvPicPr>
          <p:cNvPr id="37" name="Graphic 36" descr="Shield Tick">
            <a:extLst>
              <a:ext uri="{FF2B5EF4-FFF2-40B4-BE49-F238E27FC236}">
                <a16:creationId xmlns:a16="http://schemas.microsoft.com/office/drawing/2014/main" id="{B126AB5C-DA19-4861-A3C6-C2FB0C392B2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197166145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40823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286852353"/>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z waarde niet woningen (in ml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 met minstens 500 adress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196092338"/>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608018220"/>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iligheidshuiz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054851281"/>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6199FBE5-FEDC-4D31-9710-FBA5C392DF4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22" name="Title 2">
            <a:extLst>
              <a:ext uri="{FF2B5EF4-FFF2-40B4-BE49-F238E27FC236}">
                <a16:creationId xmlns:a16="http://schemas.microsoft.com/office/drawing/2014/main" id="{EE722F00-F7E4-4CB9-88A4-98BE93925F45}"/>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4/4)</a:t>
            </a:r>
            <a:endParaRPr lang="nl-NL" dirty="0"/>
          </a:p>
        </p:txBody>
      </p:sp>
      <p:pic>
        <p:nvPicPr>
          <p:cNvPr id="24" name="Graphic 23" descr="Shield Tick">
            <a:extLst>
              <a:ext uri="{FF2B5EF4-FFF2-40B4-BE49-F238E27FC236}">
                <a16:creationId xmlns:a16="http://schemas.microsoft.com/office/drawing/2014/main" id="{6B891D88-2408-4C9D-9EBB-7F5264CD12B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285805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CB37EB04-F57E-4F00-BE08-C7ADC58BB16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5C73CF66-045A-4BE5-BAD8-3CF04FF7642E}"/>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B8BD69C-CAE8-4789-89A0-D15F5A999868}"/>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23071125-F7FD-44BC-B148-6B4EBE4FF57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E7218425-276E-4C40-8E72-338926B09A84}"/>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BC0D1CB9-7967-4877-B8E7-51FFF94F64B9}"/>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DE9785EB-2C73-45F7-84B3-CD68F5B4B070}"/>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3130BF6-DBC7-49FB-906B-1CF8DD168BF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5EE7C32-47B2-48A6-84F5-0FB7BB8CB65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75950B4-11C2-4CE4-9E63-7F05C72928B4}"/>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E7E4F8B2-5831-42CE-BF68-C75DF2DB105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B66C7C08-FA47-44C4-92A3-5F0CF4827938}"/>
              </a:ext>
            </a:extLst>
          </p:cNvPr>
          <p:cNvSpPr txBox="1">
            <a:spLocks/>
          </p:cNvSpPr>
          <p:nvPr/>
        </p:nvSpPr>
        <p:spPr>
          <a:xfrm>
            <a:off x="622228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Bestuur en algemene ondersteuning</a:t>
            </a:r>
          </a:p>
        </p:txBody>
      </p:sp>
      <p:pic>
        <p:nvPicPr>
          <p:cNvPr id="119" name="Graphic 118" descr="Cheers">
            <a:extLst>
              <a:ext uri="{FF2B5EF4-FFF2-40B4-BE49-F238E27FC236}">
                <a16:creationId xmlns:a16="http://schemas.microsoft.com/office/drawing/2014/main" id="{CE8626F4-9C20-4D36-A4CA-4F402FCECA4C}"/>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1DB1A6B-B2F5-4691-8ADC-54C4CAD6A0F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5137DDC-D57C-4843-A559-1E6C0443A8D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A688979D-76F9-4D04-936D-5BDCC5E3323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A9DA9D1F-AC1B-46B9-93C4-35A4B8488B4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CC579B99-DC86-4927-BA1B-1E16254EC33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C9B7DA16-98F3-40EE-82CD-9DFC2D59CBD0}"/>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0B470D7F-F2C8-4E7E-8857-499C207CEAF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7745FCE3-99FE-4994-8F07-D6A80C5D939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6EC46DE0-6B3C-4E49-BD57-20359E26B01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0B589D8D-98E3-4E15-A57A-BB10268144C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A9F9E10-8BCC-40C5-9793-7737D4B6228D}"/>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0834026-58E7-4EE3-94CF-D4646F00B2B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2D631F9-D35A-49FB-BF4E-F2A9C83B85CF}"/>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5A4240D-47D1-4A2E-8D14-3E57A92A8378}"/>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9F1F649-149B-436D-9378-346752B43F9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62847066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3560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bestuur en algemen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244657566"/>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09472125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70640196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5.020</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2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2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DE87BF68-DC0F-4D96-87E2-4B7C6261138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7" name="Title 2">
            <a:extLst>
              <a:ext uri="{FF2B5EF4-FFF2-40B4-BE49-F238E27FC236}">
                <a16:creationId xmlns:a16="http://schemas.microsoft.com/office/drawing/2014/main" id="{30EFB73A-F75C-438E-A667-5A2CA8E12CC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1/4)</a:t>
            </a:r>
            <a:endParaRPr lang="nl-NL" dirty="0"/>
          </a:p>
        </p:txBody>
      </p:sp>
      <p:pic>
        <p:nvPicPr>
          <p:cNvPr id="20" name="Graphic 19" descr="Board Of Directors">
            <a:extLst>
              <a:ext uri="{FF2B5EF4-FFF2-40B4-BE49-F238E27FC236}">
                <a16:creationId xmlns:a16="http://schemas.microsoft.com/office/drawing/2014/main" id="{56174F12-C57D-4B5C-9DDA-50625C503C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9778" y="383054"/>
            <a:ext cx="370491" cy="370493"/>
          </a:xfrm>
          <a:prstGeom prst="rect">
            <a:avLst/>
          </a:prstGeom>
        </p:spPr>
      </p:pic>
      <p:grpSp>
        <p:nvGrpSpPr>
          <p:cNvPr id="21" name="Group 20">
            <a:extLst>
              <a:ext uri="{FF2B5EF4-FFF2-40B4-BE49-F238E27FC236}">
                <a16:creationId xmlns:a16="http://schemas.microsoft.com/office/drawing/2014/main" id="{8F92A6C4-BE0E-42E6-9FFC-098555E7C3B0}"/>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CF5C46B-03FF-450D-961C-11C69F40662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5F7D44B7-E224-444C-8A69-F22C65A188FD}"/>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F09F6F5B-2B59-4D1C-80C7-1E8206D0BE02}"/>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6CD2CD37-2617-4029-9625-EEDA753A7E9C}"/>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610A98AF-7F3F-483A-828D-9865DC43200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28073246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6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726705735"/>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79496781"/>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 / 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13 / 1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941131567"/>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2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5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6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19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0.14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70046"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98EC407E-54FB-426C-A33A-A74721EFEFE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8" name="Title 2">
            <a:extLst>
              <a:ext uri="{FF2B5EF4-FFF2-40B4-BE49-F238E27FC236}">
                <a16:creationId xmlns:a16="http://schemas.microsoft.com/office/drawing/2014/main" id="{3215785E-9967-467F-AEE1-C8A22E6DEEAF}"/>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2/4)</a:t>
            </a:r>
            <a:endParaRPr lang="nl-NL" dirty="0"/>
          </a:p>
        </p:txBody>
      </p:sp>
      <p:pic>
        <p:nvPicPr>
          <p:cNvPr id="19" name="Graphic 18" descr="Board Of Directors">
            <a:extLst>
              <a:ext uri="{FF2B5EF4-FFF2-40B4-BE49-F238E27FC236}">
                <a16:creationId xmlns:a16="http://schemas.microsoft.com/office/drawing/2014/main" id="{60546A16-F1F8-410C-A1B3-B586319636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63523736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34754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Bestuur en algemene ondersteun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724284676"/>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0FD1B46-C162-418C-A74F-C98BE8F248F3}"/>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31" name="Title 2">
            <a:extLst>
              <a:ext uri="{FF2B5EF4-FFF2-40B4-BE49-F238E27FC236}">
                <a16:creationId xmlns:a16="http://schemas.microsoft.com/office/drawing/2014/main" id="{2088BA3F-6561-429D-8AB4-E86FD92307B4}"/>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3/4)</a:t>
            </a:r>
            <a:endParaRPr lang="nl-NL" dirty="0"/>
          </a:p>
        </p:txBody>
      </p:sp>
      <p:pic>
        <p:nvPicPr>
          <p:cNvPr id="37" name="Graphic 36" descr="Board Of Directors">
            <a:extLst>
              <a:ext uri="{FF2B5EF4-FFF2-40B4-BE49-F238E27FC236}">
                <a16:creationId xmlns:a16="http://schemas.microsoft.com/office/drawing/2014/main" id="{7209ED28-C8B9-435F-8AA6-8081A708033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15736083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0584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782726649"/>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woonde oorden 193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3,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846514201"/>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513523302"/>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goeding raadsleden gemeen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056658763"/>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25E7625-3210-4D03-BCA9-8D8639B16C9D}"/>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Cluster Bestuur en algemene ondersteuning – </a:t>
            </a:r>
            <a:endParaRPr lang="nl-NL" dirty="0"/>
          </a:p>
        </p:txBody>
      </p:sp>
      <p:sp>
        <p:nvSpPr>
          <p:cNvPr id="22" name="Title 2">
            <a:extLst>
              <a:ext uri="{FF2B5EF4-FFF2-40B4-BE49-F238E27FC236}">
                <a16:creationId xmlns:a16="http://schemas.microsoft.com/office/drawing/2014/main" id="{29482780-E607-4B1F-B1E8-0EB73BF5661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liedrecht (4/4)</a:t>
            </a:r>
            <a:endParaRPr lang="nl-NL" dirty="0"/>
          </a:p>
        </p:txBody>
      </p:sp>
      <p:pic>
        <p:nvPicPr>
          <p:cNvPr id="24" name="Graphic 23" descr="Board Of Directors">
            <a:extLst>
              <a:ext uri="{FF2B5EF4-FFF2-40B4-BE49-F238E27FC236}">
                <a16:creationId xmlns:a16="http://schemas.microsoft.com/office/drawing/2014/main" id="{46468614-15BD-4E1C-BB68-9E93891AA27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40200615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5FC25398-33C0-4F3C-A899-29E1ABC7C1D0}"/>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CC2A2B97-DDC5-4E31-BFAB-4D5D6A5F09E3}"/>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887E3DD4-CA28-4D3B-916E-6173A4604DD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71E16A39-5137-49E5-A2CF-FFD1CE2D305C}"/>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8D49DD39-83ED-4D7C-9141-018132D48436}"/>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ED90C438-6964-499C-8339-034146888E57}"/>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89E00FEC-B37B-4278-9C6A-4A6385962E9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44496DA8-67BC-435A-9FBD-56676085ECB5}"/>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70AA1072-9E16-478B-BCD8-5ABAB799F054}"/>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470B1291-3D13-44E7-9DC9-4F0041CBC54A}"/>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68E5AC1E-C1F5-4C29-80BA-487A9802195D}"/>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33D5562D-F368-4C05-BF0F-DD5B94D4225B}"/>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B863558-E766-4B2E-9781-5F15603A6C38}"/>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A9E636A3-BA9F-4845-A671-2DD3E7BB368C}"/>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4045BE27-BE1E-4619-A5E8-24CEB90D584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C777CCB0-F362-42C8-8105-CD6FE1A2CEB7}"/>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696FCE3C-0E9B-452A-BA53-89D49692422E}"/>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B54CA9D3-5E18-455F-AD41-7E42485AD3C3}"/>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E59FA4F3-E111-41D1-9260-07EB36CEADA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ADD0EA48-90BD-441F-85BA-986836A2C6E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4490863"/>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A1ED60D7-037A-4F80-943A-229581A405E5}"/>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9DE23B52-5E9B-4BA0-BD49-BD14B0D6608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231780193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33447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273601205"/>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0,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7,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7,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6,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6,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8,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5,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39,7</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1,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1,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Totale uitkering voor Sliedrecht is ca. 42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8</a:t>
            </a:fld>
            <a:endParaRPr lang="nl-NL"/>
          </a:p>
        </p:txBody>
      </p:sp>
      <p:sp>
        <p:nvSpPr>
          <p:cNvPr id="9" name="Text Placeholder 8">
            <a:extLst>
              <a:ext uri="{FF2B5EF4-FFF2-40B4-BE49-F238E27FC236}">
                <a16:creationId xmlns:a16="http://schemas.microsoft.com/office/drawing/2014/main" id="{F067ED54-C37B-4D1C-9873-EDE670151D9D}"/>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a:t>
            </a:r>
            <a:r>
              <a:rPr lang="nl-NL" b="0" dirty="0"/>
              <a:t>2020, €mln</a:t>
            </a:r>
          </a:p>
        </p:txBody>
      </p:sp>
      <p:sp>
        <p:nvSpPr>
          <p:cNvPr id="5" name="Rectangle 4">
            <a:extLst>
              <a:ext uri="{FF2B5EF4-FFF2-40B4-BE49-F238E27FC236}">
                <a16:creationId xmlns:a16="http://schemas.microsoft.com/office/drawing/2014/main" id="{B4CB150A-381B-4196-81B6-7A78F620412B}"/>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Text Placeholder 8">
            <a:extLst>
              <a:ext uri="{FF2B5EF4-FFF2-40B4-BE49-F238E27FC236}">
                <a16:creationId xmlns:a16="http://schemas.microsoft.com/office/drawing/2014/main" id="{75A81F98-0286-47F5-A26F-48F64935D7F2}"/>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C4F98ED1-562E-494F-8AD2-46194CBDA536}"/>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2A220AE0-A9DE-45BD-B3EA-4E2D9FB10198}"/>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B8B3B245-D406-4752-AE01-E81DF170C947}"/>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Sliedrecht</a:t>
            </a:r>
            <a:endParaRPr lang="nl-NL" dirty="0"/>
          </a:p>
        </p:txBody>
      </p:sp>
    </p:spTree>
    <p:extLst>
      <p:ext uri="{BB962C8B-B14F-4D97-AF65-F5344CB8AC3E}">
        <p14:creationId xmlns:p14="http://schemas.microsoft.com/office/powerpoint/2010/main" val="5891202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88462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3918503933"/>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7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4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2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58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66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66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mn-lt"/>
                          <a:ea typeface="+mn-ea"/>
                          <a:cs typeface="+mn-cs"/>
                        </a:rPr>
                        <a:t>+75</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Per inwoner ontvangt Sliedrecht ca. 1.665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9</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7BFACF1-D462-4E31-8E7E-BBB142863DC5}"/>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034C732F-BA90-4BA9-AC17-EB92D6F1A44A}"/>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DC659DD1-A8E0-4C4C-8C54-76F24098608C}"/>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Sliedrecht</a:t>
            </a:r>
            <a:endParaRPr lang="nl-NL" dirty="0"/>
          </a:p>
        </p:txBody>
      </p:sp>
    </p:spTree>
    <p:extLst>
      <p:ext uri="{BB962C8B-B14F-4D97-AF65-F5344CB8AC3E}">
        <p14:creationId xmlns:p14="http://schemas.microsoft.com/office/powerpoint/2010/main" val="21357409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328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Geselecteerde gemeenten voor vergelijk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In dit document wordt iedere gemeente vergeleken met vier gemeenten. Dit zijn de gemeenten die qua inwonertal het minstafwijken. </a:t>
            </a:r>
          </a:p>
          <a:p>
            <a:pPr fontAlgn="auto">
              <a:spcAft>
                <a:spcPts val="0"/>
              </a:spcAft>
            </a:pPr>
            <a:r>
              <a:rPr lang="nl-NL" dirty="0"/>
              <a:t>Graag vergelijken met andere gemeenten? Download het excel model om het zelf aan te passen of neem contact met ons op. </a:t>
            </a:r>
          </a:p>
        </p:txBody>
      </p:sp>
      <p:graphicFrame>
        <p:nvGraphicFramePr>
          <p:cNvPr id="2" name="Table 1">
            <a:extLst>
              <a:ext uri="{FF2B5EF4-FFF2-40B4-BE49-F238E27FC236}">
                <a16:creationId xmlns:a16="http://schemas.microsoft.com/office/drawing/2014/main" id="{2667A7A0-5ED0-4B30-AB68-827BF8E67707}"/>
              </a:ext>
            </a:extLst>
          </p:cNvPr>
          <p:cNvGraphicFramePr>
            <a:graphicFrameLocks noGrp="1"/>
          </p:cNvGraphicFramePr>
          <p:nvPr>
            <p:extLst>
              <p:ext uri="{D42A27DB-BD31-4B8C-83A1-F6EECF244321}">
                <p14:modId xmlns:p14="http://schemas.microsoft.com/office/powerpoint/2010/main" val="3466261856"/>
              </p:ext>
            </p:extLst>
          </p:nvPr>
        </p:nvGraphicFramePr>
        <p:xfrm>
          <a:off x="4233669" y="1694900"/>
          <a:ext cx="6925944" cy="4528918"/>
        </p:xfrm>
        <a:graphic>
          <a:graphicData uri="http://schemas.openxmlformats.org/drawingml/2006/table">
            <a:tbl>
              <a:tblPr firstRow="1" bandRow="1">
                <a:tableStyleId>{5C22544A-7EE6-4342-B048-85BDC9FD1C3A}</a:tableStyleId>
              </a:tblPr>
              <a:tblGrid>
                <a:gridCol w="3462972">
                  <a:extLst>
                    <a:ext uri="{9D8B030D-6E8A-4147-A177-3AD203B41FA5}">
                      <a16:colId xmlns:a16="http://schemas.microsoft.com/office/drawing/2014/main" val="1794114974"/>
                    </a:ext>
                  </a:extLst>
                </a:gridCol>
                <a:gridCol w="3462972">
                  <a:extLst>
                    <a:ext uri="{9D8B030D-6E8A-4147-A177-3AD203B41FA5}">
                      <a16:colId xmlns:a16="http://schemas.microsoft.com/office/drawing/2014/main" val="1090991727"/>
                    </a:ext>
                  </a:extLst>
                </a:gridCol>
              </a:tblGrid>
              <a:tr h="360128">
                <a:tc>
                  <a:txBody>
                    <a:bodyPr/>
                    <a:lstStyle/>
                    <a:p>
                      <a:pPr algn="ctr"/>
                      <a:r>
                        <a:rPr lang="nl-NL" sz="1400" b="1">
                          <a:solidFill>
                            <a:schemeClr val="bg1"/>
                          </a:solidFill>
                          <a:latin typeface="+mj-lt"/>
                        </a:rPr>
                        <a:t>Gemeente</a:t>
                      </a:r>
                      <a:endParaRPr lang="nl-NL" sz="14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400" b="1">
                          <a:solidFill>
                            <a:schemeClr val="bg1"/>
                          </a:solidFill>
                          <a:latin typeface="+mj-lt"/>
                        </a:rPr>
                        <a:t>Inwoners</a:t>
                      </a:r>
                      <a:endParaRPr lang="nl-NL" sz="14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1637264834"/>
                  </a:ext>
                </a:extLst>
              </a:tr>
              <a:tr h="833758">
                <a:tc>
                  <a:txBody>
                    <a:bodyPr/>
                    <a:lstStyle/>
                    <a:p>
                      <a:pPr algn="ctr"/>
                      <a:r>
                        <a:rPr lang="nl-NL" sz="1400" b="1">
                          <a:solidFill>
                            <a:sysClr val="windowText" lastClr="000000"/>
                          </a:solidFill>
                          <a:latin typeface="+mj-lt"/>
                        </a:rPr>
                        <a:t>Sliedrecht</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400" b="1">
                          <a:solidFill>
                            <a:sysClr val="windowText" lastClr="000000"/>
                          </a:solidFill>
                          <a:latin typeface="+mj-lt"/>
                        </a:rPr>
                        <a:t>25.026</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3981105"/>
                  </a:ext>
                </a:extLst>
              </a:tr>
              <a:tr h="833758">
                <a:tc>
                  <a:txBody>
                    <a:bodyPr/>
                    <a:lstStyle/>
                    <a:p>
                      <a:pPr algn="ctr"/>
                      <a:r>
                        <a:rPr lang="nl-NL" sz="1400" b="1">
                          <a:solidFill>
                            <a:sysClr val="windowText" lastClr="000000"/>
                          </a:solidFill>
                          <a:latin typeface="+mj-lt"/>
                        </a:rPr>
                        <a:t>Steenbergen</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5.054</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3755545"/>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Stein</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4.961</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06604010"/>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Cuijk</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4.931</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253463"/>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Westerwolde</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5.199</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2924971"/>
                  </a:ext>
                </a:extLst>
              </a:tr>
            </a:tbl>
          </a:graphicData>
        </a:graphic>
      </p:graphicFrame>
      <p:sp>
        <p:nvSpPr>
          <p:cNvPr id="23" name="Rectangle: Rounded Corners 22">
            <a:hlinkClick r:id="rId6"/>
            <a:extLst>
              <a:ext uri="{FF2B5EF4-FFF2-40B4-BE49-F238E27FC236}">
                <a16:creationId xmlns:a16="http://schemas.microsoft.com/office/drawing/2014/main" id="{109E8D7A-DB49-4B0B-9EA3-267A81CDD106}"/>
              </a:ext>
            </a:extLst>
          </p:cNvPr>
          <p:cNvSpPr/>
          <p:nvPr/>
        </p:nvSpPr>
        <p:spPr>
          <a:xfrm>
            <a:off x="666747" y="4373626"/>
            <a:ext cx="3000685" cy="1850192"/>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ownload het model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24" name="Content Placeholder 14" descr="Right pointing backhand index">
            <a:hlinkClick r:id="rId6"/>
            <a:extLst>
              <a:ext uri="{FF2B5EF4-FFF2-40B4-BE49-F238E27FC236}">
                <a16:creationId xmlns:a16="http://schemas.microsoft.com/office/drawing/2014/main" id="{EA226C71-E133-4C61-A444-C1AED5F91E39}"/>
              </a:ext>
            </a:extLst>
          </p:cNvPr>
          <p:cNvPicPr>
            <a:picLocks noGrp="1" noChangeAspect="1"/>
          </p:cNvPicPr>
          <p:nvPr>
            <p:ph sz="quarter" idx="18"/>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1709889" y="5022370"/>
            <a:ext cx="914400" cy="914400"/>
          </a:xfrm>
        </p:spPr>
      </p:pic>
    </p:spTree>
    <p:extLst>
      <p:ext uri="{BB962C8B-B14F-4D97-AF65-F5344CB8AC3E}">
        <p14:creationId xmlns:p14="http://schemas.microsoft.com/office/powerpoint/2010/main" val="9302786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8005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3243600546"/>
              </p:ext>
            </p:extLst>
          </p:nvPr>
        </p:nvGraphicFramePr>
        <p:xfrm>
          <a:off x="705466" y="1592263"/>
          <a:ext cx="10827722" cy="471646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Sliedrecht</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665</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73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7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0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Dit is ca. €73 minder dan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0</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52259FB-2F43-45F1-8AB8-DFD8FB55AC1B}"/>
              </a:ext>
            </a:extLst>
          </p:cNvPr>
          <p:cNvSpPr/>
          <p:nvPr/>
        </p:nvSpPr>
        <p:spPr>
          <a:xfrm>
            <a:off x="677221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D898AD9E-D409-44CB-93C8-EC9A8F3BBE22}"/>
              </a:ext>
            </a:extLst>
          </p:cNvPr>
          <p:cNvSpPr/>
          <p:nvPr/>
        </p:nvSpPr>
        <p:spPr>
          <a:xfrm>
            <a:off x="928376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A5D94305-F92F-4AB4-BAC4-C3CB18ACEAE0}"/>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Sliedrecht</a:t>
            </a:r>
            <a:endParaRPr lang="nl-NL" dirty="0"/>
          </a:p>
        </p:txBody>
      </p:sp>
    </p:spTree>
    <p:extLst>
      <p:ext uri="{BB962C8B-B14F-4D97-AF65-F5344CB8AC3E}">
        <p14:creationId xmlns:p14="http://schemas.microsoft.com/office/powerpoint/2010/main" val="399747147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0466083-F72D-47ED-AAED-6D271113F7FD}"/>
              </a:ext>
            </a:extLst>
          </p:cNvPr>
          <p:cNvGraphicFramePr>
            <a:graphicFrameLocks noChangeAspect="1"/>
          </p:cNvGraphicFramePr>
          <p:nvPr>
            <p:custDataLst>
              <p:tags r:id="rId1"/>
            </p:custDataLst>
            <p:extLst>
              <p:ext uri="{D42A27DB-BD31-4B8C-83A1-F6EECF244321}">
                <p14:modId xmlns:p14="http://schemas.microsoft.com/office/powerpoint/2010/main" val="569407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F2D1DB41-B223-433B-BA46-C7F230F19383}"/>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2" name="Table 24">
            <a:extLst>
              <a:ext uri="{FF2B5EF4-FFF2-40B4-BE49-F238E27FC236}">
                <a16:creationId xmlns:a16="http://schemas.microsoft.com/office/drawing/2014/main" id="{9120C681-AC6D-4259-903A-EBBF6490FA6E}"/>
              </a:ext>
            </a:extLst>
          </p:cNvPr>
          <p:cNvGraphicFramePr>
            <a:graphicFrameLocks noGrp="1"/>
          </p:cNvGraphicFramePr>
          <p:nvPr>
            <p:extLst>
              <p:ext uri="{D42A27DB-BD31-4B8C-83A1-F6EECF244321}">
                <p14:modId xmlns:p14="http://schemas.microsoft.com/office/powerpoint/2010/main" val="2679016661"/>
              </p:ext>
            </p:extLst>
          </p:nvPr>
        </p:nvGraphicFramePr>
        <p:xfrm>
          <a:off x="705466" y="2136970"/>
          <a:ext cx="8008886" cy="1236780"/>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0405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181.0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cl. aanvullend (€ ml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3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0.9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25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Uitkering per inwoner</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6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bl>
          </a:graphicData>
        </a:graphic>
      </p:graphicFrame>
      <p:sp>
        <p:nvSpPr>
          <p:cNvPr id="3" name="Text Placeholder 2">
            <a:extLst>
              <a:ext uri="{FF2B5EF4-FFF2-40B4-BE49-F238E27FC236}">
                <a16:creationId xmlns:a16="http://schemas.microsoft.com/office/drawing/2014/main" id="{A1C11AE0-611F-4276-834E-E23D7C634362}"/>
              </a:ext>
            </a:extLst>
          </p:cNvPr>
          <p:cNvSpPr>
            <a:spLocks noGrp="1"/>
          </p:cNvSpPr>
          <p:nvPr>
            <p:ph type="body" sz="quarter" idx="16"/>
          </p:nvPr>
        </p:nvSpPr>
        <p:spPr/>
        <p:txBody>
          <a:bodyPr/>
          <a:lstStyle/>
          <a:p>
            <a:r>
              <a:rPr lang="nl-NL" dirty="0"/>
              <a:t>Ontwikkeling totale uitkering gemeentefonds, 2018 - 2020</a:t>
            </a:r>
          </a:p>
        </p:txBody>
      </p:sp>
      <p:sp>
        <p:nvSpPr>
          <p:cNvPr id="4" name="Title 3">
            <a:extLst>
              <a:ext uri="{FF2B5EF4-FFF2-40B4-BE49-F238E27FC236}">
                <a16:creationId xmlns:a16="http://schemas.microsoft.com/office/drawing/2014/main" id="{B3C39575-96B9-4B81-A12C-59D6D8D0A350}"/>
              </a:ext>
            </a:extLst>
          </p:cNvPr>
          <p:cNvSpPr>
            <a:spLocks noGrp="1"/>
          </p:cNvSpPr>
          <p:nvPr>
            <p:ph type="title"/>
          </p:nvPr>
        </p:nvSpPr>
        <p:spPr/>
        <p:txBody>
          <a:bodyPr/>
          <a:lstStyle/>
          <a:p>
            <a:r>
              <a:rPr lang="nl-NL" dirty="0"/>
              <a:t>Bijlage 2: </a:t>
            </a:r>
            <a:br>
              <a:rPr lang="nl-NL" dirty="0"/>
            </a:br>
            <a:r>
              <a:rPr lang="nl-NL" dirty="0"/>
              <a:t>Kwaliteitscontrole</a:t>
            </a:r>
          </a:p>
        </p:txBody>
      </p:sp>
      <p:sp>
        <p:nvSpPr>
          <p:cNvPr id="14" name="Text Placeholder 13">
            <a:extLst>
              <a:ext uri="{FF2B5EF4-FFF2-40B4-BE49-F238E27FC236}">
                <a16:creationId xmlns:a16="http://schemas.microsoft.com/office/drawing/2014/main" id="{DED4E4CA-661D-4DE0-8F0A-9D9E45135D8C}"/>
              </a:ext>
            </a:extLst>
          </p:cNvPr>
          <p:cNvSpPr>
            <a:spLocks noGrp="1"/>
          </p:cNvSpPr>
          <p:nvPr>
            <p:ph type="body" sz="quarter" idx="21"/>
          </p:nvPr>
        </p:nvSpPr>
        <p:spPr/>
        <p:txBody>
          <a:bodyPr/>
          <a:lstStyle/>
          <a:p>
            <a:endParaRPr lang="nl-NL"/>
          </a:p>
        </p:txBody>
      </p:sp>
      <p:graphicFrame>
        <p:nvGraphicFramePr>
          <p:cNvPr id="15" name="Table 24">
            <a:extLst>
              <a:ext uri="{FF2B5EF4-FFF2-40B4-BE49-F238E27FC236}">
                <a16:creationId xmlns:a16="http://schemas.microsoft.com/office/drawing/2014/main" id="{D3D41B72-D500-4892-A8C4-8CFE57E24B7B}"/>
              </a:ext>
            </a:extLst>
          </p:cNvPr>
          <p:cNvGraphicFramePr>
            <a:graphicFrameLocks noGrp="1"/>
          </p:cNvGraphicFramePr>
          <p:nvPr>
            <p:extLst>
              <p:ext uri="{D42A27DB-BD31-4B8C-83A1-F6EECF244321}">
                <p14:modId xmlns:p14="http://schemas.microsoft.com/office/powerpoint/2010/main" val="783800628"/>
              </p:ext>
            </p:extLst>
          </p:nvPr>
        </p:nvGraphicFramePr>
        <p:xfrm>
          <a:off x="705466" y="4030198"/>
          <a:ext cx="8008886" cy="173764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0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02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02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 document</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Totale uitkering in basisbestan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Aansluit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99944679"/>
                  </a:ext>
                </a:extLst>
              </a:tr>
              <a:tr h="248235">
                <a:tc>
                  <a:txBody>
                    <a:bodyPr/>
                    <a:lstStyle/>
                    <a:p>
                      <a:pPr algn="l" fontAlgn="b"/>
                      <a:r>
                        <a:rPr lang="nl-NL" sz="1100" b="0" i="0" u="none" strike="noStrike">
                          <a:solidFill>
                            <a:srgbClr val="595959"/>
                          </a:solidFill>
                          <a:effectLst/>
                          <a:latin typeface="+mj-lt"/>
                        </a:rPr>
                        <a:t>Afwijking indien aanwezi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kumimoji="0" lang="nl-NL" sz="1000" b="1" i="1"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26817651"/>
                  </a:ext>
                </a:extLst>
              </a:tr>
            </a:tbl>
          </a:graphicData>
        </a:graphic>
      </p:graphicFrame>
      <p:sp>
        <p:nvSpPr>
          <p:cNvPr id="16" name="Text Placeholder 2">
            <a:extLst>
              <a:ext uri="{FF2B5EF4-FFF2-40B4-BE49-F238E27FC236}">
                <a16:creationId xmlns:a16="http://schemas.microsoft.com/office/drawing/2014/main" id="{36136D84-1969-424A-B146-BA626CBE9248}"/>
              </a:ext>
            </a:extLst>
          </p:cNvPr>
          <p:cNvSpPr txBox="1">
            <a:spLocks/>
          </p:cNvSpPr>
          <p:nvPr/>
        </p:nvSpPr>
        <p:spPr>
          <a:xfrm>
            <a:off x="666750" y="3628859"/>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a:t>Kwaliteitscontrole gemeente Sliedrecht, 2018 - 2020</a:t>
            </a:r>
            <a:endParaRPr lang="nl-NL" dirty="0"/>
          </a:p>
        </p:txBody>
      </p:sp>
    </p:spTree>
    <p:extLst>
      <p:ext uri="{BB962C8B-B14F-4D97-AF65-F5344CB8AC3E}">
        <p14:creationId xmlns:p14="http://schemas.microsoft.com/office/powerpoint/2010/main" val="325469793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1865ACD-E1F4-4BB7-BDFA-84BF979962D8}"/>
              </a:ext>
            </a:extLst>
          </p:cNvPr>
          <p:cNvGraphicFramePr>
            <a:graphicFrameLocks noChangeAspect="1"/>
          </p:cNvGraphicFramePr>
          <p:nvPr>
            <p:custDataLst>
              <p:tags r:id="rId1"/>
            </p:custDataLst>
            <p:extLst>
              <p:ext uri="{D42A27DB-BD31-4B8C-83A1-F6EECF244321}">
                <p14:modId xmlns:p14="http://schemas.microsoft.com/office/powerpoint/2010/main" val="928201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A11ECBE-5550-4AE7-B238-CC668C136554}"/>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6B7DD5E1-4E98-43E2-A42D-8FA557DCE583}"/>
              </a:ext>
            </a:extLst>
          </p:cNvPr>
          <p:cNvSpPr>
            <a:spLocks noGrp="1"/>
          </p:cNvSpPr>
          <p:nvPr>
            <p:ph type="sldNum" sz="quarter" idx="12"/>
          </p:nvPr>
        </p:nvSpPr>
        <p:spPr/>
        <p:txBody>
          <a:bodyPr/>
          <a:lstStyle/>
          <a:p>
            <a:fld id="{DACF5B80-9BA5-46BF-AFF0-42D157F37955}" type="slidenum">
              <a:rPr lang="nl-NL" smtClean="0"/>
              <a:t>82</a:t>
            </a:fld>
            <a:endParaRPr lang="nl-NL"/>
          </a:p>
        </p:txBody>
      </p:sp>
      <p:sp>
        <p:nvSpPr>
          <p:cNvPr id="5" name="Text Placeholder 4">
            <a:extLst>
              <a:ext uri="{FF2B5EF4-FFF2-40B4-BE49-F238E27FC236}">
                <a16:creationId xmlns:a16="http://schemas.microsoft.com/office/drawing/2014/main" id="{5E2167CF-55E8-488F-980F-5E05A25026E5}"/>
              </a:ext>
            </a:extLst>
          </p:cNvPr>
          <p:cNvSpPr>
            <a:spLocks noGrp="1"/>
          </p:cNvSpPr>
          <p:nvPr>
            <p:ph type="body" sz="quarter" idx="20"/>
          </p:nvPr>
        </p:nvSpPr>
        <p:spPr/>
        <p:txBody>
          <a:bodyPr/>
          <a:lstStyle/>
          <a:p>
            <a:endParaRPr lang="nl-NL"/>
          </a:p>
        </p:txBody>
      </p:sp>
      <p:pic>
        <p:nvPicPr>
          <p:cNvPr id="7" name="Picture 6">
            <a:extLst>
              <a:ext uri="{FF2B5EF4-FFF2-40B4-BE49-F238E27FC236}">
                <a16:creationId xmlns:a16="http://schemas.microsoft.com/office/drawing/2014/main" id="{B57184CE-F402-430B-8DE9-A399176AAB5B}"/>
              </a:ext>
            </a:extLst>
          </p:cNvPr>
          <p:cNvPicPr>
            <a:picLocks noChangeAspect="1"/>
          </p:cNvPicPr>
          <p:nvPr/>
        </p:nvPicPr>
        <p:blipFill rotWithShape="1">
          <a:blip r:embed="rId6"/>
          <a:srcRect t="11141" r="18739"/>
          <a:stretch/>
        </p:blipFill>
        <p:spPr>
          <a:xfrm rot="205299">
            <a:off x="5438034" y="1955646"/>
            <a:ext cx="4904264" cy="4038726"/>
          </a:xfrm>
          <a:prstGeom prst="rect">
            <a:avLst/>
          </a:prstGeom>
          <a:ln>
            <a:solidFill>
              <a:srgbClr val="22777B"/>
            </a:solidFill>
          </a:ln>
        </p:spPr>
      </p:pic>
      <p:sp>
        <p:nvSpPr>
          <p:cNvPr id="10" name="Title 2">
            <a:extLst>
              <a:ext uri="{FF2B5EF4-FFF2-40B4-BE49-F238E27FC236}">
                <a16:creationId xmlns:a16="http://schemas.microsoft.com/office/drawing/2014/main" id="{180EE782-2DBB-4E68-BDD8-DF08F7B9403F}"/>
              </a:ext>
            </a:extLst>
          </p:cNvPr>
          <p:cNvSpPr>
            <a:spLocks noGrp="1"/>
          </p:cNvSpPr>
          <p:nvPr>
            <p:ph type="title"/>
          </p:nvPr>
        </p:nvSpPr>
        <p:spPr>
          <a:xfrm>
            <a:off x="666750" y="266700"/>
            <a:ext cx="10866438" cy="930275"/>
          </a:xfrm>
        </p:spPr>
        <p:txBody>
          <a:bodyPr/>
          <a:lstStyle/>
          <a:p>
            <a:r>
              <a:rPr lang="nl-NL" dirty="0"/>
              <a:t>Bijlage 3: </a:t>
            </a:r>
            <a:br>
              <a:rPr lang="nl-NL" dirty="0"/>
            </a:br>
            <a:r>
              <a:rPr lang="nl-NL" dirty="0"/>
              <a:t>Excel model beschikbaar online</a:t>
            </a:r>
          </a:p>
        </p:txBody>
      </p:sp>
      <p:sp>
        <p:nvSpPr>
          <p:cNvPr id="13" name="Rectangle: Rounded Corners 12">
            <a:hlinkClick r:id="rId7"/>
            <a:extLst>
              <a:ext uri="{FF2B5EF4-FFF2-40B4-BE49-F238E27FC236}">
                <a16:creationId xmlns:a16="http://schemas.microsoft.com/office/drawing/2014/main" id="{A9B39CCF-86D3-4518-AEEE-C0AB0ACFA0E2}"/>
              </a:ext>
            </a:extLst>
          </p:cNvPr>
          <p:cNvSpPr/>
          <p:nvPr/>
        </p:nvSpPr>
        <p:spPr>
          <a:xfrm>
            <a:off x="2029080" y="2662496"/>
            <a:ext cx="3622706" cy="275253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er detail per cluster of een vergelijking maken met andere gemeenten. Download de Excel versie van dit dashboard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15" name="Content Placeholder 14" descr="Right pointing backhand index">
            <a:hlinkClick r:id="rId8"/>
            <a:extLst>
              <a:ext uri="{FF2B5EF4-FFF2-40B4-BE49-F238E27FC236}">
                <a16:creationId xmlns:a16="http://schemas.microsoft.com/office/drawing/2014/main" id="{61CD87FA-4A03-40B1-B75D-DC242A0AD92B}"/>
              </a:ext>
            </a:extLst>
          </p:cNvPr>
          <p:cNvPicPr>
            <a:picLocks noGrp="1" noChangeAspect="1"/>
          </p:cNvPicPr>
          <p:nvPr>
            <p:ph sz="quarter" idx="18"/>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6200000">
            <a:off x="3383233" y="4099785"/>
            <a:ext cx="914400" cy="914400"/>
          </a:xfrm>
        </p:spPr>
      </p:pic>
    </p:spTree>
    <p:extLst>
      <p:ext uri="{BB962C8B-B14F-4D97-AF65-F5344CB8AC3E}">
        <p14:creationId xmlns:p14="http://schemas.microsoft.com/office/powerpoint/2010/main" val="108442565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E37992A-09FD-4C18-9EF4-7F0D3B3173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7E37992A-09FD-4C18-9EF4-7F0D3B3173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97132E8-4B27-41A6-ADFA-DEFA1FDDD179}"/>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Rectangle 5">
            <a:extLst>
              <a:ext uri="{FF2B5EF4-FFF2-40B4-BE49-F238E27FC236}">
                <a16:creationId xmlns:a16="http://schemas.microsoft.com/office/drawing/2014/main" id="{2046CC36-BDB3-4F7F-9292-86EC6B64530E}"/>
              </a:ext>
            </a:extLst>
          </p:cNvPr>
          <p:cNvSpPr/>
          <p:nvPr/>
        </p:nvSpPr>
        <p:spPr>
          <a:xfrm>
            <a:off x="0" y="0"/>
            <a:ext cx="12192000" cy="6858000"/>
          </a:xfrm>
          <a:prstGeom prst="rect">
            <a:avLst/>
          </a:prstGeom>
          <a:solidFill>
            <a:srgbClr val="22777B"/>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 name="Content Placeholder 1">
            <a:extLst>
              <a:ext uri="{FF2B5EF4-FFF2-40B4-BE49-F238E27FC236}">
                <a16:creationId xmlns:a16="http://schemas.microsoft.com/office/drawing/2014/main" id="{9E336A04-81C3-4DE3-9F44-102D23CF9B97}"/>
              </a:ext>
            </a:extLst>
          </p:cNvPr>
          <p:cNvSpPr>
            <a:spLocks noGrp="1"/>
          </p:cNvSpPr>
          <p:nvPr>
            <p:ph sz="quarter" idx="18"/>
          </p:nvPr>
        </p:nvSpPr>
        <p:spPr/>
        <p:txBody>
          <a:bodyPr/>
          <a:lstStyle/>
          <a:p>
            <a:r>
              <a:rPr lang="nl-NL" sz="2800" b="1" dirty="0">
                <a:solidFill>
                  <a:schemeClr val="bg1"/>
                </a:solidFill>
              </a:rPr>
              <a:t>it’s public</a:t>
            </a:r>
            <a:br>
              <a:rPr lang="nl-NL" sz="2800" b="1" dirty="0">
                <a:solidFill>
                  <a:schemeClr val="bg1"/>
                </a:solidFill>
              </a:rPr>
            </a:br>
            <a:br>
              <a:rPr lang="nl-NL" dirty="0">
                <a:solidFill>
                  <a:schemeClr val="bg1"/>
                </a:solidFill>
              </a:rPr>
            </a:br>
            <a:r>
              <a:rPr lang="nl-NL" dirty="0">
                <a:solidFill>
                  <a:schemeClr val="bg1"/>
                </a:solidFill>
              </a:rPr>
              <a:t>Plantage Middenlaan 62, 1018 DH, Amsterdam</a:t>
            </a:r>
            <a:br>
              <a:rPr lang="nl-NL" dirty="0">
                <a:solidFill>
                  <a:schemeClr val="bg1"/>
                </a:solidFill>
              </a:rPr>
            </a:br>
            <a:r>
              <a:rPr lang="nl-NL" u="sng" dirty="0">
                <a:solidFill>
                  <a:schemeClr val="bg1"/>
                </a:solidFill>
                <a:hlinkClick r:id="rId6">
                  <a:extLst>
                    <a:ext uri="{A12FA001-AC4F-418D-AE19-62706E023703}">
                      <ahyp:hlinkClr xmlns:ahyp="http://schemas.microsoft.com/office/drawing/2018/hyperlinkcolor" val="tx"/>
                    </a:ext>
                  </a:extLst>
                </a:hlinkClick>
              </a:rPr>
              <a:t>www.itspublic.nl</a:t>
            </a:r>
            <a:br>
              <a:rPr lang="nl-NL" u="sng" dirty="0">
                <a:solidFill>
                  <a:schemeClr val="bg1"/>
                </a:solidFill>
              </a:rPr>
            </a:br>
            <a:endParaRPr lang="nl-NL" dirty="0">
              <a:solidFill>
                <a:schemeClr val="bg1"/>
              </a:solidFill>
            </a:endParaRPr>
          </a:p>
          <a:p>
            <a:r>
              <a:rPr lang="nl-NL" dirty="0">
                <a:solidFill>
                  <a:schemeClr val="bg1"/>
                </a:solidFill>
              </a:rPr>
              <a:t>Voor vragen over deze publicatie:</a:t>
            </a:r>
            <a:br>
              <a:rPr lang="nl-NL" dirty="0">
                <a:solidFill>
                  <a:schemeClr val="bg1"/>
                </a:solidFill>
              </a:rPr>
            </a:br>
            <a:r>
              <a:rPr lang="nl-NL" dirty="0">
                <a:solidFill>
                  <a:schemeClr val="bg1"/>
                </a:solidFill>
              </a:rPr>
              <a:t>Kees van der Meeren (kees.vandermeeren@itspublic.nl)</a:t>
            </a:r>
          </a:p>
          <a:p>
            <a:endParaRPr lang="nl-NL" dirty="0">
              <a:solidFill>
                <a:schemeClr val="bg1"/>
              </a:solidFill>
            </a:endParaRPr>
          </a:p>
          <a:p>
            <a:endParaRPr lang="nl-NL" dirty="0">
              <a:solidFill>
                <a:schemeClr val="bg1"/>
              </a:solidFill>
            </a:endParaRPr>
          </a:p>
          <a:p>
            <a:r>
              <a:rPr kumimoji="0" lang="nl-NL" sz="1600" b="1" i="0" u="none" strike="noStrike" kern="1200" cap="none" spc="0" normalizeH="0" baseline="0" noProof="0" dirty="0">
                <a:ln>
                  <a:noFill/>
                </a:ln>
                <a:solidFill>
                  <a:schemeClr val="bg1"/>
                </a:solidFill>
                <a:effectLst/>
                <a:uLnTx/>
                <a:uFillTx/>
              </a:rPr>
              <a:t>Open source beleid</a:t>
            </a:r>
            <a:endParaRPr lang="nl-NL" sz="1600" b="1" dirty="0">
              <a:solidFill>
                <a:schemeClr val="bg1"/>
              </a:solidFill>
            </a:endParaRPr>
          </a:p>
          <a:p>
            <a:r>
              <a:rPr lang="nl-NL" dirty="0">
                <a:solidFill>
                  <a:schemeClr val="bg1"/>
                </a:solidFill>
              </a:rPr>
              <a:t>Gebruik van dit document is vrij, open te delen voor en door iedereen, in lijn met de Creative Commons Attribution 4.0 International License. Een kopie van deze licentie is hier te vinden: </a:t>
            </a:r>
            <a:r>
              <a:rPr lang="nl-NL" dirty="0">
                <a:solidFill>
                  <a:schemeClr val="bg1"/>
                </a:solidFill>
                <a:hlinkClick r:id="rId7">
                  <a:extLst>
                    <a:ext uri="{A12FA001-AC4F-418D-AE19-62706E023703}">
                      <ahyp:hlinkClr xmlns:ahyp="http://schemas.microsoft.com/office/drawing/2018/hyperlinkcolor" val="tx"/>
                    </a:ext>
                  </a:extLst>
                </a:hlinkClick>
              </a:rPr>
              <a:t>http://creativecommons.org/licenses/by/4.0/</a:t>
            </a:r>
            <a:endParaRPr lang="nl-NL" dirty="0">
              <a:solidFill>
                <a:schemeClr val="bg1"/>
              </a:solidFill>
            </a:endParaRPr>
          </a:p>
          <a:p>
            <a:endParaRPr lang="nl-NL" dirty="0">
              <a:solidFill>
                <a:schemeClr val="bg1"/>
              </a:solidFill>
            </a:endParaRPr>
          </a:p>
          <a:p>
            <a:endParaRPr lang="nl-NL" dirty="0">
              <a:solidFill>
                <a:schemeClr val="bg1"/>
              </a:solidFill>
            </a:endParaRPr>
          </a:p>
        </p:txBody>
      </p:sp>
      <p:sp>
        <p:nvSpPr>
          <p:cNvPr id="5" name="Slide Number Placeholder 4">
            <a:extLst>
              <a:ext uri="{FF2B5EF4-FFF2-40B4-BE49-F238E27FC236}">
                <a16:creationId xmlns:a16="http://schemas.microsoft.com/office/drawing/2014/main" id="{2F83D6CD-0DF4-43FF-87E6-CDDDA1F715E6}"/>
              </a:ext>
            </a:extLst>
          </p:cNvPr>
          <p:cNvSpPr>
            <a:spLocks noGrp="1"/>
          </p:cNvSpPr>
          <p:nvPr>
            <p:ph type="sldNum" sz="quarter" idx="12"/>
          </p:nvPr>
        </p:nvSpPr>
        <p:spPr/>
        <p:txBody>
          <a:bodyPr/>
          <a:lstStyle/>
          <a:p>
            <a:fld id="{992CD0B2-8AB2-4C6C-8876-E15753662C9B}" type="slidenum">
              <a:rPr lang="nl-NL" noProof="0" smtClean="0"/>
              <a:pPr/>
              <a:t>83</a:t>
            </a:fld>
            <a:endParaRPr lang="nl-NL" noProof="0" dirty="0"/>
          </a:p>
        </p:txBody>
      </p:sp>
      <p:pic>
        <p:nvPicPr>
          <p:cNvPr id="9" name="Picture 2" descr="cc">
            <a:extLst>
              <a:ext uri="{FF2B5EF4-FFF2-40B4-BE49-F238E27FC236}">
                <a16:creationId xmlns:a16="http://schemas.microsoft.com/office/drawing/2014/main" id="{667A40A4-8435-4961-B09C-3CD1FC945C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3043" y="5378159"/>
            <a:ext cx="708216" cy="708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by">
            <a:extLst>
              <a:ext uri="{FF2B5EF4-FFF2-40B4-BE49-F238E27FC236}">
                <a16:creationId xmlns:a16="http://schemas.microsoft.com/office/drawing/2014/main" id="{32460C19-D25F-4D28-990B-146947754F7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64167" y="5378159"/>
            <a:ext cx="708216" cy="708216"/>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1">
            <a:extLst>
              <a:ext uri="{FF2B5EF4-FFF2-40B4-BE49-F238E27FC236}">
                <a16:creationId xmlns:a16="http://schemas.microsoft.com/office/drawing/2014/main" id="{8C289EBF-F132-4922-A949-32F3A07BF308}"/>
              </a:ext>
            </a:extLst>
          </p:cNvPr>
          <p:cNvSpPr txBox="1">
            <a:spLocks/>
          </p:cNvSpPr>
          <p:nvPr/>
        </p:nvSpPr>
        <p:spPr>
          <a:xfrm>
            <a:off x="6200787" y="1592263"/>
            <a:ext cx="5332401"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r>
              <a:rPr lang="nl-NL" sz="1600" b="1" dirty="0">
                <a:solidFill>
                  <a:schemeClr val="bg1"/>
                </a:solidFill>
              </a:rPr>
              <a:t>Gebruikt materiaal in deze publicatie</a:t>
            </a:r>
          </a:p>
          <a:p>
            <a:pPr fontAlgn="auto">
              <a:spcAft>
                <a:spcPts val="0"/>
              </a:spcAft>
            </a:pPr>
            <a:r>
              <a:rPr lang="nl-NL" dirty="0">
                <a:solidFill>
                  <a:schemeClr val="bg1"/>
                </a:solidFill>
              </a:rPr>
              <a:t>Voorkant fotogroot: rechtenvrij</a:t>
            </a:r>
          </a:p>
          <a:p>
            <a:pPr fontAlgn="auto">
              <a:spcAft>
                <a:spcPts val="0"/>
              </a:spcAft>
            </a:pPr>
            <a:r>
              <a:rPr lang="nl-NL" dirty="0">
                <a:solidFill>
                  <a:schemeClr val="bg1"/>
                </a:solidFill>
              </a:rPr>
              <a:t>Iconen powerpoint: rechtenvrij</a:t>
            </a:r>
          </a:p>
          <a:p>
            <a:pPr fontAlgn="auto">
              <a:spcAft>
                <a:spcPts val="0"/>
              </a:spcAft>
            </a:pPr>
            <a:endParaRPr lang="nl-NL" dirty="0">
              <a:solidFill>
                <a:schemeClr val="bg1"/>
              </a:solidFill>
            </a:endParaRPr>
          </a:p>
          <a:p>
            <a:pPr fontAlgn="auto">
              <a:spcAft>
                <a:spcPts val="0"/>
              </a:spcAft>
            </a:pPr>
            <a:endParaRPr lang="nl-NL" dirty="0">
              <a:solidFill>
                <a:schemeClr val="bg1"/>
              </a:solidFill>
            </a:endParaRPr>
          </a:p>
        </p:txBody>
      </p:sp>
    </p:spTree>
    <p:extLst>
      <p:ext uri="{BB962C8B-B14F-4D97-AF65-F5344CB8AC3E}">
        <p14:creationId xmlns:p14="http://schemas.microsoft.com/office/powerpoint/2010/main" val="26748414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885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Bronnen van de uitkeringe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9</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3" name="Rectangle: Rounded Corners 12">
            <a:extLst>
              <a:ext uri="{FF2B5EF4-FFF2-40B4-BE49-F238E27FC236}">
                <a16:creationId xmlns:a16="http://schemas.microsoft.com/office/drawing/2014/main" id="{77D80FB5-51A5-4694-ABEC-00D79A7351AC}"/>
              </a:ext>
            </a:extLst>
          </p:cNvPr>
          <p:cNvSpPr/>
          <p:nvPr/>
        </p:nvSpPr>
        <p:spPr>
          <a:xfrm>
            <a:off x="4233670" y="1694900"/>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20</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4" name="Rectangle: Rounded Corners 13">
            <a:extLst>
              <a:ext uri="{FF2B5EF4-FFF2-40B4-BE49-F238E27FC236}">
                <a16:creationId xmlns:a16="http://schemas.microsoft.com/office/drawing/2014/main" id="{2A1B7DF8-C8F1-43BB-83A9-3884A09783B7}"/>
              </a:ext>
            </a:extLst>
          </p:cNvPr>
          <p:cNvSpPr/>
          <p:nvPr/>
        </p:nvSpPr>
        <p:spPr>
          <a:xfrm>
            <a:off x="6426366" y="1694900"/>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Meicirculaire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Let op: de uitkeringen uit het gemeentefonds worden iedere circulaire geupdate. Zowel de uitkeringen in het lopende jaar als de uitkeringen uit het jaar ervoor. De wijzigingen worden steeds beperkter.</a:t>
            </a:r>
          </a:p>
          <a:p>
            <a:pPr fontAlgn="auto">
              <a:spcAft>
                <a:spcPts val="0"/>
              </a:spcAft>
            </a:pPr>
            <a:r>
              <a:rPr lang="nl-NL" dirty="0"/>
              <a:t>Van het actuele jaar </a:t>
            </a:r>
            <a:r>
              <a:rPr lang="en-GB" dirty="0"/>
              <a:t>(T) </a:t>
            </a:r>
            <a:r>
              <a:rPr lang="nl-NL" dirty="0"/>
              <a:t>en het jaar daarvoor (T-1) worden iedere keer de laatste gegevens gebruikt. Voor het jaar daarvoor (T-2) worden de laatste wijzigingen niet opnieuw verwerkt, hierdoor kunnen in dit rapport voor de 2018 getallen kleine afwijkingen ontstaan.</a:t>
            </a:r>
          </a:p>
        </p:txBody>
      </p:sp>
      <p:sp>
        <p:nvSpPr>
          <p:cNvPr id="16" name="Rectangle: Rounded Corners 15">
            <a:extLst>
              <a:ext uri="{FF2B5EF4-FFF2-40B4-BE49-F238E27FC236}">
                <a16:creationId xmlns:a16="http://schemas.microsoft.com/office/drawing/2014/main" id="{067D4AB7-C0B0-4DB4-AF6B-71486E23C2BB}"/>
              </a:ext>
            </a:extLst>
          </p:cNvPr>
          <p:cNvSpPr/>
          <p:nvPr/>
        </p:nvSpPr>
        <p:spPr>
          <a:xfrm>
            <a:off x="4233670" y="271040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9</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Rounded Corners 16">
            <a:extLst>
              <a:ext uri="{FF2B5EF4-FFF2-40B4-BE49-F238E27FC236}">
                <a16:creationId xmlns:a16="http://schemas.microsoft.com/office/drawing/2014/main" id="{5E1B9466-062B-43B3-97CD-BAC4F298E10B}"/>
              </a:ext>
            </a:extLst>
          </p:cNvPr>
          <p:cNvSpPr/>
          <p:nvPr/>
        </p:nvSpPr>
        <p:spPr>
          <a:xfrm>
            <a:off x="6426366" y="271040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Rectangle: Rounded Corners 17">
            <a:extLst>
              <a:ext uri="{FF2B5EF4-FFF2-40B4-BE49-F238E27FC236}">
                <a16:creationId xmlns:a16="http://schemas.microsoft.com/office/drawing/2014/main" id="{E38DA81C-A753-4D1C-A5D9-0A6D0A62CD3E}"/>
              </a:ext>
            </a:extLst>
          </p:cNvPr>
          <p:cNvSpPr/>
          <p:nvPr/>
        </p:nvSpPr>
        <p:spPr>
          <a:xfrm>
            <a:off x="4233670" y="3731209"/>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600" b="1">
                <a:solidFill>
                  <a:schemeClr val="bg1"/>
                </a:solidFill>
                <a:latin typeface="Corbel" panose="020B0503020204020204" pitchFamily="34" charset="0"/>
                <a:cs typeface="+mn-cs"/>
              </a:rPr>
              <a:t>2018</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Rounded Corners 18">
            <a:extLst>
              <a:ext uri="{FF2B5EF4-FFF2-40B4-BE49-F238E27FC236}">
                <a16:creationId xmlns:a16="http://schemas.microsoft.com/office/drawing/2014/main" id="{F68FDF04-3B4D-4A62-A6F0-83C405AE00BD}"/>
              </a:ext>
            </a:extLst>
          </p:cNvPr>
          <p:cNvSpPr/>
          <p:nvPr/>
        </p:nvSpPr>
        <p:spPr>
          <a:xfrm>
            <a:off x="6426366" y="3731209"/>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9</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0" name="Rectangle: Rounded Corners 19">
            <a:extLst>
              <a:ext uri="{FF2B5EF4-FFF2-40B4-BE49-F238E27FC236}">
                <a16:creationId xmlns:a16="http://schemas.microsoft.com/office/drawing/2014/main" id="{243D29A9-7EFC-4D01-82B6-31C10AF2C9D2}"/>
              </a:ext>
            </a:extLst>
          </p:cNvPr>
          <p:cNvSpPr/>
          <p:nvPr/>
        </p:nvSpPr>
        <p:spPr>
          <a:xfrm>
            <a:off x="4233670" y="474936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7</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Rounded Corners 20">
            <a:extLst>
              <a:ext uri="{FF2B5EF4-FFF2-40B4-BE49-F238E27FC236}">
                <a16:creationId xmlns:a16="http://schemas.microsoft.com/office/drawing/2014/main" id="{830E647B-846A-4492-9251-CF293BFF7AC6}"/>
              </a:ext>
            </a:extLst>
          </p:cNvPr>
          <p:cNvSpPr/>
          <p:nvPr/>
        </p:nvSpPr>
        <p:spPr>
          <a:xfrm>
            <a:off x="6426366" y="474936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8</a:t>
            </a:r>
            <a:br>
              <a:rPr kumimoji="0" lang="nl-NL" sz="16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i="0" u="none" strike="noStrike" kern="1200" cap="none" spc="0" normalizeH="0" baseline="0" noProof="0" dirty="0">
                <a:ln>
                  <a:noFill/>
                </a:ln>
                <a:effectLst/>
                <a:uLnTx/>
                <a:uFillTx/>
                <a:latin typeface="Corbel" panose="020B0503020204020204" pitchFamily="34" charset="0"/>
                <a:ea typeface="+mn-ea"/>
                <a:cs typeface="+mn-cs"/>
              </a:rPr>
              <a:t>NB: niet gebruikt in dit rapport. Raadpleeg voor getallen 2017 onze eerdere rapporten.</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658543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4&quot;&gt;&lt;elem m_fUsage=&quot;3.83981622382849163699E+00&quot;&gt;&lt;m_msothmcolidx val=&quot;0&quot;/&gt;&lt;m_rgb r=&quot;22&quot; g=&quot;77&quot; b=&quot;7B&quot;/&gt;&lt;m_nBrightness endver=&quot;26206&quot; val=&quot;0&quot;/&gt;&lt;/elem&gt;&lt;elem m_fUsage=&quot;1.35002560169362961773E+00&quot;&gt;&lt;m_msothmcolidx val=&quot;0&quot;/&gt;&lt;m_rgb r=&quot;3F&quot; g=&quot;C1&quot; b=&quot;C9&quot;/&gt;&lt;m_nBrightness endver=&quot;26206&quot; val=&quot;0&quot;/&gt;&lt;/elem&gt;&lt;elem m_fUsage=&quot;9.44694597474079689192E-01&quot;&gt;&lt;m_msothmcolidx val=&quot;0&quot;/&gt;&lt;m_rgb r=&quot;FB&quot; g=&quot;A7&quot; b=&quot;37&quot;/&gt;&lt;m_nBrightness endver=&quot;26206&quot; val=&quot;0&quot;/&gt;&lt;/elem&gt;&lt;elem m_fUsage=&quot;8.32100907408881540483E-01&quot;&gt;&lt;m_msothmcolidx val=&quot;0&quot;/&gt;&lt;m_rgb r=&quot;36&quot; g=&quot;4F&quot; b=&quot;6B&quot;/&gt;&lt;m_nBrightness endver=&quot;26206&quot; val=&quot;0&quot;/&gt;&lt;/elem&gt;&lt;elem m_fUsage=&quot;6.66875263664305828470E-01&quot;&gt;&lt;m_msothmcolidx val=&quot;0&quot;/&gt;&lt;m_rgb r=&quot;FE&quot; g=&quot;E4&quot; b=&quot;BE&quot;/&gt;&lt;m_nBrightness endver=&quot;26206&quot; val=&quot;0&quot;/&gt;&lt;/elem&gt;&lt;elem m_fUsage=&quot;5.91761450014951950749E-01&quot;&gt;&lt;m_msothmcolidx val=&quot;0&quot;/&gt;&lt;m_rgb r=&quot;9F&quot; g=&quot;E0&quot; b=&quot;E4&quot;/&gt;&lt;m_nBrightness endver=&quot;26206&quot; val=&quot;0&quot;/&gt;&lt;/elem&gt;&lt;elem m_fUsage=&quot;5.63307926220496746339E-01&quot;&gt;&lt;m_msothmcolidx val=&quot;0&quot;/&gt;&lt;m_rgb r=&quot;8C&quot; g=&quot;DA&quot; b=&quot;DF&quot;/&gt;&lt;m_nBrightness endver=&quot;26206&quot; val=&quot;0&quot;/&gt;&lt;/elem&gt;&lt;elem m_fUsage=&quot;4.82583747507459692727E-01&quot;&gt;&lt;m_msothmcolidx val=&quot;0&quot;/&gt;&lt;m_rgb r=&quot;D9&quot; g=&quot;F3&quot; b=&quot;F4&quot;/&gt;&lt;m_nBrightness endver=&quot;26206&quot; val=&quot;0&quot;/&gt;&lt;/elem&gt;&lt;elem m_fUsage=&quot;3.90716207502169177168E-01&quot;&gt;&lt;m_msothmcolidx val=&quot;0&quot;/&gt;&lt;m_rgb r=&quot;94&quot; g=&quot;AD&quot; b=&quot;C9&quot;/&gt;&lt;m_nBrightness endver=&quot;26206&quot; val=&quot;0&quot;/&gt;&lt;/elem&gt;&lt;elem m_fUsage=&quot;2.82960863160901909819E-01&quot;&gt;&lt;m_msothmcolidx val=&quot;0&quot;/&gt;&lt;m_rgb r=&quot;3C&quot; g=&quot;B8&quot; b=&quot;C0&quot;/&gt;&lt;m_nBrightness endver=&quot;26206&quot; val=&quot;0&quot;/&gt;&lt;/elem&gt;&lt;elem m_fUsage=&quot;1.62285677253892757221E-02&quot;&gt;&lt;m_msothmcolidx val=&quot;0&quot;/&gt;&lt;m_rgb r=&quot;FC&quot; g=&quot;BE&quot; b=&quot;6B&quot;/&gt;&lt;m_nBrightness endver=&quot;26206&quot; val=&quot;0&quot;/&gt;&lt;/elem&gt;&lt;elem m_fUsage=&quot;1.49248177014300008325E-02&quot;&gt;&lt;m_msothmcolidx val=&quot;0&quot;/&gt;&lt;m_rgb r=&quot;FC&quot; g=&quot;CD&quot; b=&quot;8E&quot;/&gt;&lt;m_nBrightness endver=&quot;26206&quot; val=&quot;0&quot;/&gt;&lt;/elem&gt;&lt;elem m_fUsage=&quot;9.69773729787524671475E-03&quot;&gt;&lt;m_msothmcolidx val=&quot;0&quot;/&gt;&lt;m_rgb r=&quot;FE&quot; g=&quot;E4&quot; b=&quot;CB&quot;/&gt;&lt;m_nBrightness endver=&quot;26206&quot; val=&quot;0&quot;/&gt;&lt;/elem&gt;&lt;elem m_fUsage=&quot;7.20322661312321286392E-03&quot;&gt;&lt;m_msothmcolidx val=&quot;0&quot;/&gt;&lt;m_rgb r=&quot;2E&quot; g=&quot;9E&quot; b=&quot;A4&quot;/&gt;&lt;m_nBrightness endver=&quot;26206&quot; val=&quot;0&quot;/&gt;&lt;/elem&gt;&lt;elem m_fUsage=&quot;5.48457842656692017708E-03&quot;&gt;&lt;m_msothmcolidx val=&quot;0&quot;/&gt;&lt;m_rgb r=&quot;FE&quot; g=&quot;E9&quot; b=&quot;CB&quot;/&gt;&lt;m_nBrightness endver=&quot;26206&quot; val=&quot;0&quot;/&gt;&lt;/elem&gt;&lt;elem m_fUsage=&quot;1.17901845777385982754E-03&quot;&gt;&lt;m_msothmcolidx val=&quot;0&quot;/&gt;&lt;m_rgb r=&quot;FD&quot; g=&quot;D1&quot; b=&quot;97&quot;/&gt;&lt;m_nBrightness endver=&quot;26206&quot; val=&quot;0&quot;/&gt;&lt;/elem&gt;&lt;elem m_fUsage=&quot;1.05513244778329744146E-04&quot;&gt;&lt;m_msothmcolidx val=&quot;0&quot;/&gt;&lt;m_rgb r=&quot;80&quot; g=&quot;D2&quot; b=&quot;D7&quot;/&gt;&lt;m_nBrightness endver=&quot;26206&quot; val=&quot;0&quot;/&gt;&lt;/elem&gt;&lt;elem m_fUsage=&quot;1.04495676331778526973E-04&quot;&gt;&lt;m_msothmcolidx val=&quot;0&quot;/&gt;&lt;m_rgb r=&quot;FD&quot; g=&quot;D6&quot; b=&quot;9F&quot;/&gt;&lt;m_nBrightness endver=&quot;26206&quot; val=&quot;0&quot;/&gt;&lt;/elem&gt;&lt;elem m_fUsage=&quot;8.46414978287406111852E-05&quot;&gt;&lt;m_msothmcolidx val=&quot;0&quot;/&gt;&lt;m_rgb r=&quot;AD&quot; g=&quot;C0&quot; b=&quot;D6&quot;/&gt;&lt;m_nBrightness endver=&quot;26206&quot; val=&quot;0&quot;/&gt;&lt;/elem&gt;&lt;elem m_fUsage=&quot;7.61773480458665541324E-05&quot;&gt;&lt;m_msothmcolidx val=&quot;0&quot;/&gt;&lt;m_rgb r=&quot;71&quot; g=&quot;92&quot; b=&quot;B7&quot;/&gt;&lt;m_nBrightness endver=&quot;26206&quot; val=&quot;0&quot;/&gt;&lt;/elem&gt;&lt;elem m_fUsage=&quot;6.17036519171519230774E-05&quot;&gt;&lt;m_msothmcolidx val=&quot;0&quot;/&gt;&lt;m_rgb r=&quot;A9&quot; g=&quot;E1&quot; b=&quot;E4&quot;/&gt;&lt;m_nBrightness endver=&quot;26206&quot; val=&quot;0&quot;/&gt;&lt;/elem&gt;&lt;elem m_fUsage=&quot;2.90632141619870863105E-06&quot;&gt;&lt;m_msothmcolidx val=&quot;0&quot;/&gt;&lt;m_rgb r=&quot;FF&quot; g=&quot;C0&quot; b=&quot;00&quot;/&gt;&lt;m_nBrightness endver=&quot;26206&quot; val=&quot;0&quot;/&gt;&lt;/elem&gt;&lt;elem m_fUsage=&quot;1.01337161782938879136E-06&quot;&gt;&lt;m_msothmcolidx val=&quot;0&quot;/&gt;&lt;m_rgb r=&quot;F2&quot; g=&quot;F2&quot; b=&quot;F2&quot;/&gt;&lt;m_nBrightness endver=&quot;26206&quot; val=&quot;0&quot;/&gt;&lt;/elem&gt;&lt;elem m_fUsage=&quot;9.36392472700638181426E-07&quot;&gt;&lt;m_msothmcolidx val=&quot;0&quot;/&gt;&lt;m_rgb r=&quot;FC&quot; g=&quot;51&quot; b=&quot;85&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RsX7zGPShEt_fjp1WzQxj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5EtKlJMUweytlV6O2T65R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83K3vKgBzGiKSEwF0ZnJ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heme/theme1.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b it's public - ppt bibliotheek v 1.02</Template>
  <TotalTime>5</TotalTime>
  <Words>9717</Words>
  <Application>Microsoft Office PowerPoint</Application>
  <PresentationFormat>Widescreen</PresentationFormat>
  <Paragraphs>2184</Paragraphs>
  <Slides>83</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3</vt:i4>
      </vt:variant>
    </vt:vector>
  </HeadingPairs>
  <TitlesOfParts>
    <vt:vector size="89" baseType="lpstr">
      <vt:lpstr>Arial</vt:lpstr>
      <vt:lpstr>Calibri</vt:lpstr>
      <vt:lpstr>Corbel</vt:lpstr>
      <vt:lpstr>Wingdings</vt:lpstr>
      <vt:lpstr>AMSTERDAM template</vt:lpstr>
      <vt:lpstr>think-cell Slide</vt:lpstr>
      <vt:lpstr>PowerPoint Presentation</vt:lpstr>
      <vt:lpstr>PowerPoint Presentation</vt:lpstr>
      <vt:lpstr>Introductie gemeentefonds en document Werking van het gemeentefonds</vt:lpstr>
      <vt:lpstr>Introductie gemeentefonds en document Totale uitkering gemeentefonds in 2020 is 32,3 miljard</vt:lpstr>
      <vt:lpstr>Introductie gemeentefonds en document Het gemeentefonds ademt mee met de Rijksbegroting</vt:lpstr>
      <vt:lpstr>Introductie gemeentefonds en document Drie definities mogelijk bij bepalen uitkering per cluster (1/2)</vt:lpstr>
      <vt:lpstr>Introductie gemeentefonds en document Drie definities mogelijk bij bepalen uitkering per cluster (2/2)</vt:lpstr>
      <vt:lpstr>Introductie gemeentefonds en document Geselecteerde gemeenten voor vergelijking</vt:lpstr>
      <vt:lpstr>Introductie gemeentefonds en document Bronnen van de uitkeringen</vt:lpstr>
      <vt:lpstr>PowerPoint Presentation</vt:lpstr>
      <vt:lpstr>Totale uitkering voor Sliedrecht is ca. 42 mln (1/3)</vt:lpstr>
      <vt:lpstr>Totale uitkering voor Sliedrecht is ca. 42 mln (2/3)</vt:lpstr>
      <vt:lpstr>Totale uitkering voor Sliedrecht is ca. 42 mln (3/3)</vt:lpstr>
      <vt:lpstr>Per inwoner ontvangt Sliedrecht ca. 1.665 euro</vt:lpstr>
      <vt:lpstr>Dit is ca. 73 euro minder dan de 4 vergelijkingsgemeenten</vt:lpstr>
      <vt:lpstr>PowerPoint Presentation</vt:lpstr>
      <vt:lpstr>PowerPoint Presentation</vt:lpstr>
      <vt:lpstr>Cluster Eigen middelen – </vt:lpstr>
      <vt:lpstr>Cluster Eigen middelen – </vt:lpstr>
      <vt:lpstr>PowerPoint Presentation</vt:lpstr>
      <vt:lpstr>PowerPoint Presentation</vt:lpstr>
      <vt:lpstr>PowerPoint Presentation</vt:lpstr>
      <vt:lpstr>Cluster Inkomen en participatie – </vt:lpstr>
      <vt:lpstr>Cluster Inkomen en participatie – </vt:lpstr>
      <vt:lpstr>PowerPoint Presentation</vt:lpstr>
      <vt:lpstr>PowerPoint Presentation</vt:lpstr>
      <vt:lpstr>PowerPoint Presentation</vt:lpstr>
      <vt:lpstr>Cluster Samenkracht en burgerparticipatie – </vt:lpstr>
      <vt:lpstr>Cluster Samenkracht en burgerparticipatie – </vt:lpstr>
      <vt:lpstr>PowerPoint Presentation</vt:lpstr>
      <vt:lpstr>PowerPoint Presentation</vt:lpstr>
      <vt:lpstr>PowerPoint Presentation</vt:lpstr>
      <vt:lpstr>Cluster Jeugd – </vt:lpstr>
      <vt:lpstr>Cluster Jeugd – </vt:lpstr>
      <vt:lpstr>PowerPoint Presentation</vt:lpstr>
      <vt:lpstr>PowerPoint Presentation</vt:lpstr>
      <vt:lpstr>PowerPoint Presentation</vt:lpstr>
      <vt:lpstr>Cluster Maatschappelijke ondersteuning – </vt:lpstr>
      <vt:lpstr>Cluster Maatschappelijke ondersteuning – </vt:lpstr>
      <vt:lpstr>PowerPoint Presentation</vt:lpstr>
      <vt:lpstr>PowerPoint Presentation</vt:lpstr>
      <vt:lpstr>PowerPoint Presentation</vt:lpstr>
      <vt:lpstr>Cluster Educatie – </vt:lpstr>
      <vt:lpstr>Cluster Educatie – </vt:lpstr>
      <vt:lpstr>PowerPoint Presentation</vt:lpstr>
      <vt:lpstr>PowerPoint Presentation</vt:lpstr>
      <vt:lpstr>PowerPoint Presentation</vt:lpstr>
      <vt:lpstr>Cluster Volksgezondheid – </vt:lpstr>
      <vt:lpstr>Cluster Volksgezondheid – </vt:lpstr>
      <vt:lpstr>PowerPoint Presentation</vt:lpstr>
      <vt:lpstr>PowerPoint Presentation</vt:lpstr>
      <vt:lpstr>PowerPoint Presentation</vt:lpstr>
      <vt:lpstr>Cluster Cultuur en ontspanning – </vt:lpstr>
      <vt:lpstr>Cluster Cultuur en ontspanning – </vt:lpstr>
      <vt:lpstr>PowerPoint Presentation</vt:lpstr>
      <vt:lpstr>PowerPoint Presentation</vt:lpstr>
      <vt:lpstr>PowerPoint Presentation</vt:lpstr>
      <vt:lpstr>Cluster Infrastructuur en gebiedsontwikkeling – </vt:lpstr>
      <vt:lpstr>Cluster Infrastructuur en gebiedsontwikkeling – </vt:lpstr>
      <vt:lpstr>PowerPoint Presentation</vt:lpstr>
      <vt:lpstr>PowerPoint Presentation</vt:lpstr>
      <vt:lpstr>PowerPoint Presentation</vt:lpstr>
      <vt:lpstr>Cluster Riolering en reiniging – </vt:lpstr>
      <vt:lpstr>Cluster Riolering en reiniging – </vt:lpstr>
      <vt:lpstr>PowerPoint Presentation</vt:lpstr>
      <vt:lpstr>PowerPoint Presentation</vt:lpstr>
      <vt:lpstr>PowerPoint Presentation</vt:lpstr>
      <vt:lpstr>Cluster Openbare orde en veiligheid – </vt:lpstr>
      <vt:lpstr>Cluster Openbare orde en veiligheid – </vt:lpstr>
      <vt:lpstr>PowerPoint Presentation</vt:lpstr>
      <vt:lpstr>PowerPoint Presentation</vt:lpstr>
      <vt:lpstr>PowerPoint Presentation</vt:lpstr>
      <vt:lpstr>Cluster Bestuur en algemene ondersteuning – </vt:lpstr>
      <vt:lpstr>Cluster Bestuur en algemene ondersteuning – </vt:lpstr>
      <vt:lpstr>Cluster Bestuur en algemene ondersteuning – </vt:lpstr>
      <vt:lpstr>PowerPoint Presentation</vt:lpstr>
      <vt:lpstr>PowerPoint Presentation</vt:lpstr>
      <vt:lpstr>Totale uitkering voor Sliedrecht is ca. 42 mln</vt:lpstr>
      <vt:lpstr>Per inwoner ontvangt Sliedrecht ca. 1.665 euro</vt:lpstr>
      <vt:lpstr>Dit is ca. €73 minder dan 4 vergelijkingsgemeenten</vt:lpstr>
      <vt:lpstr>Bijlage 2:  Kwaliteitscontrole</vt:lpstr>
      <vt:lpstr>Bijlage 3:  Excel model beschikbaar onlin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anne Dekker</dc:creator>
  <cp:lastModifiedBy>Thijs Jacobs</cp:lastModifiedBy>
  <cp:revision>922</cp:revision>
  <cp:lastPrinted>2020-08-19T07:49:56Z</cp:lastPrinted>
  <dcterms:created xsi:type="dcterms:W3CDTF">2020-03-09T08:06:05Z</dcterms:created>
  <dcterms:modified xsi:type="dcterms:W3CDTF">2021-03-28T08:49:34Z</dcterms:modified>
</cp:coreProperties>
</file>